
<file path=[Content_Types].xml><?xml version="1.0" encoding="utf-8"?>
<Types xmlns="http://schemas.openxmlformats.org/package/2006/content-types">
  <Default Extension="bin" ContentType="image/jpeg"/>
  <Default Extension="emf" ContentType="image/x-emf"/>
  <Default Extension="gif" ContentType="image/gif"/>
  <Default Extension="jfif" ContentType="image/jpeg"/>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39.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0.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4"/>
    <p:sldMasterId id="2147483754" r:id="rId15"/>
    <p:sldMasterId id="2147483760" r:id="rId16"/>
    <p:sldMasterId id="2147483767" r:id="rId17"/>
  </p:sldMasterIdLst>
  <p:notesMasterIdLst>
    <p:notesMasterId r:id="rId97"/>
  </p:notesMasterIdLst>
  <p:handoutMasterIdLst>
    <p:handoutMasterId r:id="rId98"/>
  </p:handoutMasterIdLst>
  <p:sldIdLst>
    <p:sldId id="260" r:id="rId18"/>
    <p:sldId id="562" r:id="rId19"/>
    <p:sldId id="561" r:id="rId20"/>
    <p:sldId id="534" r:id="rId21"/>
    <p:sldId id="481" r:id="rId22"/>
    <p:sldId id="606" r:id="rId23"/>
    <p:sldId id="1597" r:id="rId24"/>
    <p:sldId id="1599" r:id="rId25"/>
    <p:sldId id="1595" r:id="rId26"/>
    <p:sldId id="1596" r:id="rId27"/>
    <p:sldId id="257" r:id="rId28"/>
    <p:sldId id="622" r:id="rId29"/>
    <p:sldId id="598" r:id="rId30"/>
    <p:sldId id="596" r:id="rId31"/>
    <p:sldId id="599" r:id="rId32"/>
    <p:sldId id="644" r:id="rId33"/>
    <p:sldId id="560" r:id="rId34"/>
    <p:sldId id="571" r:id="rId35"/>
    <p:sldId id="572" r:id="rId36"/>
    <p:sldId id="1600" r:id="rId37"/>
    <p:sldId id="573" r:id="rId38"/>
    <p:sldId id="607" r:id="rId39"/>
    <p:sldId id="603" r:id="rId40"/>
    <p:sldId id="623" r:id="rId41"/>
    <p:sldId id="624" r:id="rId42"/>
    <p:sldId id="633" r:id="rId43"/>
    <p:sldId id="604" r:id="rId44"/>
    <p:sldId id="462" r:id="rId45"/>
    <p:sldId id="1594" r:id="rId46"/>
    <p:sldId id="1593" r:id="rId47"/>
    <p:sldId id="1598" r:id="rId48"/>
    <p:sldId id="574" r:id="rId49"/>
    <p:sldId id="576" r:id="rId50"/>
    <p:sldId id="1603" r:id="rId51"/>
    <p:sldId id="1604" r:id="rId52"/>
    <p:sldId id="1605" r:id="rId53"/>
    <p:sldId id="1477" r:id="rId54"/>
    <p:sldId id="617" r:id="rId55"/>
    <p:sldId id="618" r:id="rId56"/>
    <p:sldId id="620" r:id="rId57"/>
    <p:sldId id="615" r:id="rId58"/>
    <p:sldId id="616" r:id="rId59"/>
    <p:sldId id="614" r:id="rId60"/>
    <p:sldId id="613" r:id="rId61"/>
    <p:sldId id="625" r:id="rId62"/>
    <p:sldId id="582" r:id="rId63"/>
    <p:sldId id="653" r:id="rId64"/>
    <p:sldId id="1676" r:id="rId65"/>
    <p:sldId id="563" r:id="rId66"/>
    <p:sldId id="564" r:id="rId67"/>
    <p:sldId id="1508" r:id="rId68"/>
    <p:sldId id="1638" r:id="rId69"/>
    <p:sldId id="2103813177" r:id="rId70"/>
    <p:sldId id="1621" r:id="rId71"/>
    <p:sldId id="1649" r:id="rId72"/>
    <p:sldId id="1641" r:id="rId73"/>
    <p:sldId id="1642" r:id="rId74"/>
    <p:sldId id="1643" r:id="rId75"/>
    <p:sldId id="1646" r:id="rId76"/>
    <p:sldId id="1645" r:id="rId77"/>
    <p:sldId id="1648" r:id="rId78"/>
    <p:sldId id="1651" r:id="rId79"/>
    <p:sldId id="1650" r:id="rId80"/>
    <p:sldId id="1652" r:id="rId81"/>
    <p:sldId id="1653" r:id="rId82"/>
    <p:sldId id="2103813178" r:id="rId83"/>
    <p:sldId id="1611" r:id="rId84"/>
    <p:sldId id="1654" r:id="rId85"/>
    <p:sldId id="1655" r:id="rId86"/>
    <p:sldId id="1656" r:id="rId87"/>
    <p:sldId id="1657" r:id="rId88"/>
    <p:sldId id="1659" r:id="rId89"/>
    <p:sldId id="1658" r:id="rId90"/>
    <p:sldId id="1660" r:id="rId91"/>
    <p:sldId id="1537" r:id="rId92"/>
    <p:sldId id="1538" r:id="rId93"/>
    <p:sldId id="1663" r:id="rId94"/>
    <p:sldId id="2103813184" r:id="rId95"/>
    <p:sldId id="259" r:id="rId96"/>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Lst>
        </p14:section>
        <p14:section name="Lesson 1: SQL Server Query Execution" id="{25ADF4C8-2200-4410-9F45-B05F5BA6D4E6}">
          <p14:sldIdLst>
            <p14:sldId id="561"/>
            <p14:sldId id="534"/>
            <p14:sldId id="481"/>
            <p14:sldId id="606"/>
            <p14:sldId id="1597"/>
            <p14:sldId id="1599"/>
            <p14:sldId id="1595"/>
            <p14:sldId id="1596"/>
            <p14:sldId id="257"/>
            <p14:sldId id="622"/>
            <p14:sldId id="598"/>
            <p14:sldId id="596"/>
            <p14:sldId id="599"/>
            <p14:sldId id="644"/>
            <p14:sldId id="560"/>
          </p14:sldIdLst>
        </p14:section>
        <p14:section name="Lesson 2: SQL Server Query Plan Analysis" id="{85626129-1C31-480E-AD3C-8186F26405A3}">
          <p14:sldIdLst>
            <p14:sldId id="571"/>
            <p14:sldId id="572"/>
            <p14:sldId id="1600"/>
            <p14:sldId id="573"/>
            <p14:sldId id="607"/>
            <p14:sldId id="603"/>
            <p14:sldId id="623"/>
            <p14:sldId id="624"/>
            <p14:sldId id="633"/>
            <p14:sldId id="604"/>
            <p14:sldId id="462"/>
            <p14:sldId id="1594"/>
            <p14:sldId id="1593"/>
            <p14:sldId id="1598"/>
            <p14:sldId id="574"/>
            <p14:sldId id="576"/>
          </p14:sldIdLst>
        </p14:section>
        <p14:section name="Lesson 3: SQL Server Plan Cache" id="{E25AC560-57D0-4A2B-8D1D-1D5BDAA0C195}">
          <p14:sldIdLst>
            <p14:sldId id="1603"/>
            <p14:sldId id="1604"/>
            <p14:sldId id="1605"/>
            <p14:sldId id="1477"/>
            <p14:sldId id="617"/>
            <p14:sldId id="618"/>
            <p14:sldId id="620"/>
            <p14:sldId id="615"/>
            <p14:sldId id="616"/>
            <p14:sldId id="614"/>
            <p14:sldId id="613"/>
            <p14:sldId id="625"/>
            <p14:sldId id="582"/>
            <p14:sldId id="653"/>
            <p14:sldId id="1676"/>
            <p14:sldId id="563"/>
          </p14:sldIdLst>
        </p14:section>
        <p14:section name="Lesson 4: SQL Server Query Store" id="{6F639A05-2893-48A9-A600-6681E43668C4}">
          <p14:sldIdLst>
            <p14:sldId id="564"/>
            <p14:sldId id="1508"/>
            <p14:sldId id="1638"/>
            <p14:sldId id="2103813177"/>
            <p14:sldId id="1621"/>
            <p14:sldId id="1649"/>
            <p14:sldId id="1641"/>
            <p14:sldId id="1642"/>
            <p14:sldId id="1643"/>
            <p14:sldId id="1646"/>
            <p14:sldId id="1645"/>
            <p14:sldId id="1648"/>
            <p14:sldId id="1651"/>
            <p14:sldId id="1650"/>
            <p14:sldId id="1652"/>
            <p14:sldId id="1653"/>
            <p14:sldId id="2103813178"/>
            <p14:sldId id="1611"/>
            <p14:sldId id="1654"/>
            <p14:sldId id="1655"/>
            <p14:sldId id="1656"/>
            <p14:sldId id="1657"/>
            <p14:sldId id="1659"/>
            <p14:sldId id="1658"/>
            <p14:sldId id="1660"/>
            <p14:sldId id="1537"/>
            <p14:sldId id="1538"/>
            <p14:sldId id="1663"/>
            <p14:sldId id="2103813184"/>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96" autoAdjust="0"/>
    <p:restoredTop sz="94010" autoAdjust="0"/>
  </p:normalViewPr>
  <p:slideViewPr>
    <p:cSldViewPr showGuides="1">
      <p:cViewPr varScale="1">
        <p:scale>
          <a:sx n="65" d="100"/>
          <a:sy n="65" d="100"/>
        </p:scale>
        <p:origin x="376" y="48"/>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viewProps" Target="viewProps.xml"/><Relationship Id="rId5" Type="http://schemas.openxmlformats.org/officeDocument/2006/relationships/customXml" Target="../customXml/item5.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customXml" Target="../customXml/item12.xml"/><Relationship Id="rId17" Type="http://schemas.openxmlformats.org/officeDocument/2006/relationships/slideMaster" Target="slideMasters/slideMaster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notesMaster" Target="notesMasters/notesMaster1.xml"/><Relationship Id="rId104"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commentAuthors" Target="commentAuthors.xml"/><Relationship Id="rId105"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handoutMaster" Target="handoutMasters/handoutMaster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Valero" userId="31dd2ff7-9a08-462f-9096-6c487a317220" providerId="ADAL" clId="{13C66EB5-766D-4A69-8EF8-1B215228E3C9}"/>
    <pc:docChg chg="undo redo custSel addSld delSld modSld sldOrd modSection">
      <pc:chgData name="Daniel Valero" userId="31dd2ff7-9a08-462f-9096-6c487a317220" providerId="ADAL" clId="{13C66EB5-766D-4A69-8EF8-1B215228E3C9}" dt="2020-02-26T19:13:33.900" v="5405" actId="14100"/>
      <pc:docMkLst>
        <pc:docMk/>
      </pc:docMkLst>
      <pc:sldChg chg="add del">
        <pc:chgData name="Daniel Valero" userId="31dd2ff7-9a08-462f-9096-6c487a317220" providerId="ADAL" clId="{13C66EB5-766D-4A69-8EF8-1B215228E3C9}" dt="2020-02-24T20:29:19.383" v="439"/>
        <pc:sldMkLst>
          <pc:docMk/>
          <pc:sldMk cId="1600500149" sldId="256"/>
        </pc:sldMkLst>
      </pc:sldChg>
      <pc:sldChg chg="addSp delSp modSp mod ord modNotesTx">
        <pc:chgData name="Daniel Valero" userId="31dd2ff7-9a08-462f-9096-6c487a317220" providerId="ADAL" clId="{13C66EB5-766D-4A69-8EF8-1B215228E3C9}" dt="2020-02-25T18:43:21.913" v="4328" actId="20577"/>
        <pc:sldMkLst>
          <pc:docMk/>
          <pc:sldMk cId="3235270007" sldId="257"/>
        </pc:sldMkLst>
        <pc:spChg chg="mod">
          <ac:chgData name="Daniel Valero" userId="31dd2ff7-9a08-462f-9096-6c487a317220" providerId="ADAL" clId="{13C66EB5-766D-4A69-8EF8-1B215228E3C9}" dt="2020-02-24T19:37:17.212" v="34" actId="790"/>
          <ac:spMkLst>
            <pc:docMk/>
            <pc:sldMk cId="3235270007" sldId="257"/>
            <ac:spMk id="2" creationId="{EB67312A-9819-43C6-8D84-D9136E6CFFCC}"/>
          </ac:spMkLst>
        </pc:spChg>
        <pc:spChg chg="mod">
          <ac:chgData name="Daniel Valero" userId="31dd2ff7-9a08-462f-9096-6c487a317220" providerId="ADAL" clId="{13C66EB5-766D-4A69-8EF8-1B215228E3C9}" dt="2020-02-25T18:31:54.496" v="4155" actId="20577"/>
          <ac:spMkLst>
            <pc:docMk/>
            <pc:sldMk cId="3235270007" sldId="257"/>
            <ac:spMk id="3" creationId="{F35E8CBB-5A7D-4DEF-BAF7-8DD5D042F9E0}"/>
          </ac:spMkLst>
        </pc:spChg>
        <pc:spChg chg="del mod">
          <ac:chgData name="Daniel Valero" userId="31dd2ff7-9a08-462f-9096-6c487a317220" providerId="ADAL" clId="{13C66EB5-766D-4A69-8EF8-1B215228E3C9}" dt="2020-02-25T18:34:17.575" v="4171" actId="478"/>
          <ac:spMkLst>
            <pc:docMk/>
            <pc:sldMk cId="3235270007" sldId="257"/>
            <ac:spMk id="4" creationId="{F3616A99-090F-45E1-9334-58D58B148205}"/>
          </ac:spMkLst>
        </pc:spChg>
        <pc:spChg chg="add del mod">
          <ac:chgData name="Daniel Valero" userId="31dd2ff7-9a08-462f-9096-6c487a317220" providerId="ADAL" clId="{13C66EB5-766D-4A69-8EF8-1B215228E3C9}" dt="2020-02-25T18:33:58.847" v="4164" actId="478"/>
          <ac:spMkLst>
            <pc:docMk/>
            <pc:sldMk cId="3235270007" sldId="257"/>
            <ac:spMk id="6" creationId="{169E72AA-BB18-4896-B740-EFF2AF1D1445}"/>
          </ac:spMkLst>
        </pc:spChg>
        <pc:spChg chg="add del mod">
          <ac:chgData name="Daniel Valero" userId="31dd2ff7-9a08-462f-9096-6c487a317220" providerId="ADAL" clId="{13C66EB5-766D-4A69-8EF8-1B215228E3C9}" dt="2020-02-25T18:34:13.966" v="4167" actId="478"/>
          <ac:spMkLst>
            <pc:docMk/>
            <pc:sldMk cId="3235270007" sldId="257"/>
            <ac:spMk id="7" creationId="{1ACA28AE-0391-4926-ADCC-37A802323BB7}"/>
          </ac:spMkLst>
        </pc:spChg>
        <pc:spChg chg="add del mod">
          <ac:chgData name="Daniel Valero" userId="31dd2ff7-9a08-462f-9096-6c487a317220" providerId="ADAL" clId="{13C66EB5-766D-4A69-8EF8-1B215228E3C9}" dt="2020-02-25T18:34:14.525" v="4168" actId="478"/>
          <ac:spMkLst>
            <pc:docMk/>
            <pc:sldMk cId="3235270007" sldId="257"/>
            <ac:spMk id="8" creationId="{11E6287D-903E-465A-BF53-468599B77B3D}"/>
          </ac:spMkLst>
        </pc:spChg>
        <pc:spChg chg="add del mod">
          <ac:chgData name="Daniel Valero" userId="31dd2ff7-9a08-462f-9096-6c487a317220" providerId="ADAL" clId="{13C66EB5-766D-4A69-8EF8-1B215228E3C9}" dt="2020-02-25T18:34:13.381" v="4166" actId="478"/>
          <ac:spMkLst>
            <pc:docMk/>
            <pc:sldMk cId="3235270007" sldId="257"/>
            <ac:spMk id="9" creationId="{C3C59E8B-3CB8-4F4A-B6E6-7EBF7C5DC086}"/>
          </ac:spMkLst>
        </pc:spChg>
        <pc:graphicFrameChg chg="add del mod">
          <ac:chgData name="Daniel Valero" userId="31dd2ff7-9a08-462f-9096-6c487a317220" providerId="ADAL" clId="{13C66EB5-766D-4A69-8EF8-1B215228E3C9}" dt="2020-02-25T18:33:57.384" v="4163" actId="478"/>
          <ac:graphicFrameMkLst>
            <pc:docMk/>
            <pc:sldMk cId="3235270007" sldId="257"/>
            <ac:graphicFrameMk id="5" creationId="{D7AA4849-9265-4768-8404-82A32BB2007A}"/>
          </ac:graphicFrameMkLst>
        </pc:graphicFrameChg>
        <pc:graphicFrameChg chg="add mod modGraphic">
          <ac:chgData name="Daniel Valero" userId="31dd2ff7-9a08-462f-9096-6c487a317220" providerId="ADAL" clId="{13C66EB5-766D-4A69-8EF8-1B215228E3C9}" dt="2020-02-25T18:43:21.913" v="4328" actId="20577"/>
          <ac:graphicFrameMkLst>
            <pc:docMk/>
            <pc:sldMk cId="3235270007" sldId="257"/>
            <ac:graphicFrameMk id="10" creationId="{2E361A70-62E8-4C24-8093-F2EEBBF0058D}"/>
          </ac:graphicFrameMkLst>
        </pc:graphicFrameChg>
      </pc:sldChg>
      <pc:sldChg chg="add del">
        <pc:chgData name="Daniel Valero" userId="31dd2ff7-9a08-462f-9096-6c487a317220" providerId="ADAL" clId="{13C66EB5-766D-4A69-8EF8-1B215228E3C9}" dt="2020-02-24T20:29:19.383" v="439"/>
        <pc:sldMkLst>
          <pc:docMk/>
          <pc:sldMk cId="1441160563" sldId="337"/>
        </pc:sldMkLst>
      </pc:sldChg>
      <pc:sldChg chg="modSp mod">
        <pc:chgData name="Daniel Valero" userId="31dd2ff7-9a08-462f-9096-6c487a317220" providerId="ADAL" clId="{13C66EB5-766D-4A69-8EF8-1B215228E3C9}" dt="2020-02-25T17:46:31.782" v="3412" actId="20577"/>
        <pc:sldMkLst>
          <pc:docMk/>
          <pc:sldMk cId="2621600474" sldId="534"/>
        </pc:sldMkLst>
        <pc:spChg chg="mod">
          <ac:chgData name="Daniel Valero" userId="31dd2ff7-9a08-462f-9096-6c487a317220" providerId="ADAL" clId="{13C66EB5-766D-4A69-8EF8-1B215228E3C9}" dt="2020-02-25T17:46:31.782" v="3412" actId="20577"/>
          <ac:spMkLst>
            <pc:docMk/>
            <pc:sldMk cId="2621600474" sldId="534"/>
            <ac:spMk id="5" creationId="{55182462-DFDF-4D48-A92C-42FD52821C4E}"/>
          </ac:spMkLst>
        </pc:spChg>
      </pc:sldChg>
      <pc:sldChg chg="modSp mod">
        <pc:chgData name="Daniel Valero" userId="31dd2ff7-9a08-462f-9096-6c487a317220" providerId="ADAL" clId="{13C66EB5-766D-4A69-8EF8-1B215228E3C9}" dt="2020-02-25T20:33:34.288" v="5279" actId="5793"/>
        <pc:sldMkLst>
          <pc:docMk/>
          <pc:sldMk cId="2034824179" sldId="565"/>
        </pc:sldMkLst>
        <pc:spChg chg="mod">
          <ac:chgData name="Daniel Valero" userId="31dd2ff7-9a08-462f-9096-6c487a317220" providerId="ADAL" clId="{13C66EB5-766D-4A69-8EF8-1B215228E3C9}" dt="2020-02-25T20:33:34.288" v="5279" actId="5793"/>
          <ac:spMkLst>
            <pc:docMk/>
            <pc:sldMk cId="2034824179" sldId="565"/>
            <ac:spMk id="5" creationId="{55182462-DFDF-4D48-A92C-42FD52821C4E}"/>
          </ac:spMkLst>
        </pc:spChg>
      </pc:sldChg>
      <pc:sldChg chg="addSp delSp modSp mod ord modNotesTx">
        <pc:chgData name="Daniel Valero" userId="31dd2ff7-9a08-462f-9096-6c487a317220" providerId="ADAL" clId="{13C66EB5-766D-4A69-8EF8-1B215228E3C9}" dt="2020-02-25T20:32:59.405" v="5276" actId="1076"/>
        <pc:sldMkLst>
          <pc:docMk/>
          <pc:sldMk cId="4221783869" sldId="566"/>
        </pc:sldMkLst>
        <pc:spChg chg="mod">
          <ac:chgData name="Daniel Valero" userId="31dd2ff7-9a08-462f-9096-6c487a317220" providerId="ADAL" clId="{13C66EB5-766D-4A69-8EF8-1B215228E3C9}" dt="2020-02-25T15:04:00.943" v="2354" actId="20577"/>
          <ac:spMkLst>
            <pc:docMk/>
            <pc:sldMk cId="4221783869" sldId="566"/>
            <ac:spMk id="2" creationId="{EB67312A-9819-43C6-8D84-D9136E6CFFCC}"/>
          </ac:spMkLst>
        </pc:spChg>
        <pc:spChg chg="mod">
          <ac:chgData name="Daniel Valero" userId="31dd2ff7-9a08-462f-9096-6c487a317220" providerId="ADAL" clId="{13C66EB5-766D-4A69-8EF8-1B215228E3C9}" dt="2020-02-25T20:31:04.613" v="5229" actId="20577"/>
          <ac:spMkLst>
            <pc:docMk/>
            <pc:sldMk cId="4221783869" sldId="566"/>
            <ac:spMk id="3" creationId="{F35E8CBB-5A7D-4DEF-BAF7-8DD5D042F9E0}"/>
          </ac:spMkLst>
        </pc:spChg>
        <pc:spChg chg="del mod">
          <ac:chgData name="Daniel Valero" userId="31dd2ff7-9a08-462f-9096-6c487a317220" providerId="ADAL" clId="{13C66EB5-766D-4A69-8EF8-1B215228E3C9}" dt="2020-02-25T15:04:03.718" v="2355" actId="478"/>
          <ac:spMkLst>
            <pc:docMk/>
            <pc:sldMk cId="4221783869" sldId="566"/>
            <ac:spMk id="4" creationId="{F3616A99-090F-45E1-9334-58D58B148205}"/>
          </ac:spMkLst>
        </pc:spChg>
        <pc:spChg chg="add del mod">
          <ac:chgData name="Daniel Valero" userId="31dd2ff7-9a08-462f-9096-6c487a317220" providerId="ADAL" clId="{13C66EB5-766D-4A69-8EF8-1B215228E3C9}" dt="2020-02-25T20:32:40.430" v="5264" actId="478"/>
          <ac:spMkLst>
            <pc:docMk/>
            <pc:sldMk cId="4221783869" sldId="566"/>
            <ac:spMk id="5" creationId="{9FD93DC8-1DF7-4B66-8DBA-227D054D5066}"/>
          </ac:spMkLst>
        </pc:spChg>
        <pc:spChg chg="add del mod">
          <ac:chgData name="Daniel Valero" userId="31dd2ff7-9a08-462f-9096-6c487a317220" providerId="ADAL" clId="{13C66EB5-766D-4A69-8EF8-1B215228E3C9}" dt="2020-02-25T20:32:37.647" v="5262" actId="478"/>
          <ac:spMkLst>
            <pc:docMk/>
            <pc:sldMk cId="4221783869" sldId="566"/>
            <ac:spMk id="6" creationId="{2D8F3FCD-8B5B-4696-B96D-6F972D025CC3}"/>
          </ac:spMkLst>
        </pc:spChg>
        <pc:spChg chg="add del">
          <ac:chgData name="Daniel Valero" userId="31dd2ff7-9a08-462f-9096-6c487a317220" providerId="ADAL" clId="{13C66EB5-766D-4A69-8EF8-1B215228E3C9}" dt="2020-02-25T15:04:26" v="2365"/>
          <ac:spMkLst>
            <pc:docMk/>
            <pc:sldMk cId="4221783869" sldId="566"/>
            <ac:spMk id="7" creationId="{8FB96DD0-5C3C-485F-B679-533BDF152627}"/>
          </ac:spMkLst>
        </pc:spChg>
        <pc:spChg chg="add del">
          <ac:chgData name="Daniel Valero" userId="31dd2ff7-9a08-462f-9096-6c487a317220" providerId="ADAL" clId="{13C66EB5-766D-4A69-8EF8-1B215228E3C9}" dt="2020-02-25T15:04:26" v="2365"/>
          <ac:spMkLst>
            <pc:docMk/>
            <pc:sldMk cId="4221783869" sldId="566"/>
            <ac:spMk id="8" creationId="{A0242834-8C5A-492F-BBCE-AE40F4E89819}"/>
          </ac:spMkLst>
        </pc:spChg>
        <pc:graphicFrameChg chg="add mod modGraphic">
          <ac:chgData name="Daniel Valero" userId="31dd2ff7-9a08-462f-9096-6c487a317220" providerId="ADAL" clId="{13C66EB5-766D-4A69-8EF8-1B215228E3C9}" dt="2020-02-25T20:32:59.405" v="5276" actId="1076"/>
          <ac:graphicFrameMkLst>
            <pc:docMk/>
            <pc:sldMk cId="4221783869" sldId="566"/>
            <ac:graphicFrameMk id="9" creationId="{C7E54BA4-B9D5-4384-9A0F-2BBF5913642C}"/>
          </ac:graphicFrameMkLst>
        </pc:graphicFrameChg>
      </pc:sldChg>
      <pc:sldChg chg="modSp">
        <pc:chgData name="Daniel Valero" userId="31dd2ff7-9a08-462f-9096-6c487a317220" providerId="ADAL" clId="{13C66EB5-766D-4A69-8EF8-1B215228E3C9}" dt="2020-02-24T23:45:23.839" v="2338"/>
        <pc:sldMkLst>
          <pc:docMk/>
          <pc:sldMk cId="2314306782" sldId="572"/>
        </pc:sldMkLst>
        <pc:spChg chg="mod">
          <ac:chgData name="Daniel Valero" userId="31dd2ff7-9a08-462f-9096-6c487a317220" providerId="ADAL" clId="{13C66EB5-766D-4A69-8EF8-1B215228E3C9}" dt="2020-02-24T23:45:23.839" v="2338"/>
          <ac:spMkLst>
            <pc:docMk/>
            <pc:sldMk cId="2314306782" sldId="572"/>
            <ac:spMk id="5" creationId="{55182462-DFDF-4D48-A92C-42FD52821C4E}"/>
          </ac:spMkLst>
        </pc:spChg>
      </pc:sldChg>
      <pc:sldChg chg="addSp delSp modSp mod">
        <pc:chgData name="Daniel Valero" userId="31dd2ff7-9a08-462f-9096-6c487a317220" providerId="ADAL" clId="{13C66EB5-766D-4A69-8EF8-1B215228E3C9}" dt="2020-02-24T21:03:07.738" v="752"/>
        <pc:sldMkLst>
          <pc:docMk/>
          <pc:sldMk cId="4248838292" sldId="573"/>
        </pc:sldMkLst>
        <pc:spChg chg="mod">
          <ac:chgData name="Daniel Valero" userId="31dd2ff7-9a08-462f-9096-6c487a317220" providerId="ADAL" clId="{13C66EB5-766D-4A69-8EF8-1B215228E3C9}" dt="2020-02-24T20:58:24.816" v="740"/>
          <ac:spMkLst>
            <pc:docMk/>
            <pc:sldMk cId="4248838292" sldId="573"/>
            <ac:spMk id="2" creationId="{EB67312A-9819-43C6-8D84-D9136E6CFFCC}"/>
          </ac:spMkLst>
        </pc:spChg>
        <pc:spChg chg="mod">
          <ac:chgData name="Daniel Valero" userId="31dd2ff7-9a08-462f-9096-6c487a317220" providerId="ADAL" clId="{13C66EB5-766D-4A69-8EF8-1B215228E3C9}" dt="2020-02-24T20:58:04.323" v="735" actId="790"/>
          <ac:spMkLst>
            <pc:docMk/>
            <pc:sldMk cId="4248838292" sldId="573"/>
            <ac:spMk id="3" creationId="{F35E8CBB-5A7D-4DEF-BAF7-8DD5D042F9E0}"/>
          </ac:spMkLst>
        </pc:spChg>
        <pc:spChg chg="mod">
          <ac:chgData name="Daniel Valero" userId="31dd2ff7-9a08-462f-9096-6c487a317220" providerId="ADAL" clId="{13C66EB5-766D-4A69-8EF8-1B215228E3C9}" dt="2020-02-24T21:00:09.565" v="748" actId="12"/>
          <ac:spMkLst>
            <pc:docMk/>
            <pc:sldMk cId="4248838292" sldId="573"/>
            <ac:spMk id="4" creationId="{F3616A99-090F-45E1-9334-58D58B148205}"/>
          </ac:spMkLst>
        </pc:spChg>
        <pc:spChg chg="add del">
          <ac:chgData name="Daniel Valero" userId="31dd2ff7-9a08-462f-9096-6c487a317220" providerId="ADAL" clId="{13C66EB5-766D-4A69-8EF8-1B215228E3C9}" dt="2020-02-24T20:58:47.714" v="744"/>
          <ac:spMkLst>
            <pc:docMk/>
            <pc:sldMk cId="4248838292" sldId="573"/>
            <ac:spMk id="5" creationId="{D1DA791C-2802-4363-9F7A-08C2ADF81773}"/>
          </ac:spMkLst>
        </pc:spChg>
        <pc:spChg chg="add del mod">
          <ac:chgData name="Daniel Valero" userId="31dd2ff7-9a08-462f-9096-6c487a317220" providerId="ADAL" clId="{13C66EB5-766D-4A69-8EF8-1B215228E3C9}" dt="2020-02-24T21:03:07.738" v="752"/>
          <ac:spMkLst>
            <pc:docMk/>
            <pc:sldMk cId="4248838292" sldId="573"/>
            <ac:spMk id="6" creationId="{8D985DAD-D7F2-43B1-9024-5E6265FE16D7}"/>
          </ac:spMkLst>
        </pc:spChg>
      </pc:sldChg>
      <pc:sldChg chg="addSp delSp modSp mod">
        <pc:chgData name="Daniel Valero" userId="31dd2ff7-9a08-462f-9096-6c487a317220" providerId="ADAL" clId="{13C66EB5-766D-4A69-8EF8-1B215228E3C9}" dt="2020-02-25T20:15:26.557" v="5172" actId="1076"/>
        <pc:sldMkLst>
          <pc:docMk/>
          <pc:sldMk cId="2551646555" sldId="580"/>
        </pc:sldMkLst>
        <pc:spChg chg="mod">
          <ac:chgData name="Daniel Valero" userId="31dd2ff7-9a08-462f-9096-6c487a317220" providerId="ADAL" clId="{13C66EB5-766D-4A69-8EF8-1B215228E3C9}" dt="2020-02-25T20:13:59.857" v="5149"/>
          <ac:spMkLst>
            <pc:docMk/>
            <pc:sldMk cId="2551646555" sldId="580"/>
            <ac:spMk id="2" creationId="{EB67312A-9819-43C6-8D84-D9136E6CFFCC}"/>
          </ac:spMkLst>
        </pc:spChg>
        <pc:spChg chg="mod">
          <ac:chgData name="Daniel Valero" userId="31dd2ff7-9a08-462f-9096-6c487a317220" providerId="ADAL" clId="{13C66EB5-766D-4A69-8EF8-1B215228E3C9}" dt="2020-02-25T20:14:06.249" v="5166" actId="6549"/>
          <ac:spMkLst>
            <pc:docMk/>
            <pc:sldMk cId="2551646555" sldId="580"/>
            <ac:spMk id="3" creationId="{F35E8CBB-5A7D-4DEF-BAF7-8DD5D042F9E0}"/>
          </ac:spMkLst>
        </pc:spChg>
        <pc:spChg chg="del mod">
          <ac:chgData name="Daniel Valero" userId="31dd2ff7-9a08-462f-9096-6c487a317220" providerId="ADAL" clId="{13C66EB5-766D-4A69-8EF8-1B215228E3C9}" dt="2020-02-25T20:14:09.256" v="5167" actId="478"/>
          <ac:spMkLst>
            <pc:docMk/>
            <pc:sldMk cId="2551646555" sldId="580"/>
            <ac:spMk id="4" creationId="{F3616A99-090F-45E1-9334-58D58B148205}"/>
          </ac:spMkLst>
        </pc:spChg>
        <pc:picChg chg="add mod">
          <ac:chgData name="Daniel Valero" userId="31dd2ff7-9a08-462f-9096-6c487a317220" providerId="ADAL" clId="{13C66EB5-766D-4A69-8EF8-1B215228E3C9}" dt="2020-02-25T20:15:26.557" v="5172" actId="1076"/>
          <ac:picMkLst>
            <pc:docMk/>
            <pc:sldMk cId="2551646555" sldId="580"/>
            <ac:picMk id="11266" creationId="{A26473B8-2991-46F4-B947-212ECFDF0973}"/>
          </ac:picMkLst>
        </pc:picChg>
      </pc:sldChg>
      <pc:sldChg chg="del">
        <pc:chgData name="Daniel Valero" userId="31dd2ff7-9a08-462f-9096-6c487a317220" providerId="ADAL" clId="{13C66EB5-766D-4A69-8EF8-1B215228E3C9}" dt="2020-02-24T20:56:41.314" v="734" actId="47"/>
        <pc:sldMkLst>
          <pc:docMk/>
          <pc:sldMk cId="3372985199" sldId="592"/>
        </pc:sldMkLst>
      </pc:sldChg>
      <pc:sldChg chg="addSp delSp modSp del mod">
        <pc:chgData name="Daniel Valero" userId="31dd2ff7-9a08-462f-9096-6c487a317220" providerId="ADAL" clId="{13C66EB5-766D-4A69-8EF8-1B215228E3C9}" dt="2020-02-25T17:42:42.129" v="3363" actId="47"/>
        <pc:sldMkLst>
          <pc:docMk/>
          <pc:sldMk cId="3536691941" sldId="593"/>
        </pc:sldMkLst>
        <pc:spChg chg="mod">
          <ac:chgData name="Daniel Valero" userId="31dd2ff7-9a08-462f-9096-6c487a317220" providerId="ADAL" clId="{13C66EB5-766D-4A69-8EF8-1B215228E3C9}" dt="2020-02-25T15:04:51.325" v="2387" actId="20577"/>
          <ac:spMkLst>
            <pc:docMk/>
            <pc:sldMk cId="3536691941" sldId="593"/>
            <ac:spMk id="4" creationId="{F3616A99-090F-45E1-9334-58D58B148205}"/>
          </ac:spMkLst>
        </pc:spChg>
        <pc:spChg chg="add del">
          <ac:chgData name="Daniel Valero" userId="31dd2ff7-9a08-462f-9096-6c487a317220" providerId="ADAL" clId="{13C66EB5-766D-4A69-8EF8-1B215228E3C9}" dt="2020-02-25T17:30:42.243" v="2683"/>
          <ac:spMkLst>
            <pc:docMk/>
            <pc:sldMk cId="3536691941" sldId="593"/>
            <ac:spMk id="7" creationId="{76F1FDD4-5051-4A8B-BD02-EEF3B5D8A557}"/>
          </ac:spMkLst>
        </pc:spChg>
        <pc:spChg chg="add del">
          <ac:chgData name="Daniel Valero" userId="31dd2ff7-9a08-462f-9096-6c487a317220" providerId="ADAL" clId="{13C66EB5-766D-4A69-8EF8-1B215228E3C9}" dt="2020-02-25T17:30:42.243" v="2683"/>
          <ac:spMkLst>
            <pc:docMk/>
            <pc:sldMk cId="3536691941" sldId="593"/>
            <ac:spMk id="8" creationId="{D88C590D-5451-4286-AD3C-CE4BDD0B6D99}"/>
          </ac:spMkLst>
        </pc:spChg>
        <pc:spChg chg="add del">
          <ac:chgData name="Daniel Valero" userId="31dd2ff7-9a08-462f-9096-6c487a317220" providerId="ADAL" clId="{13C66EB5-766D-4A69-8EF8-1B215228E3C9}" dt="2020-02-25T17:30:42.243" v="2683"/>
          <ac:spMkLst>
            <pc:docMk/>
            <pc:sldMk cId="3536691941" sldId="593"/>
            <ac:spMk id="9" creationId="{23B4EC1F-1578-41DD-B9A7-74DF8C8F951C}"/>
          </ac:spMkLst>
        </pc:spChg>
      </pc:sldChg>
      <pc:sldChg chg="del">
        <pc:chgData name="Daniel Valero" userId="31dd2ff7-9a08-462f-9096-6c487a317220" providerId="ADAL" clId="{13C66EB5-766D-4A69-8EF8-1B215228E3C9}" dt="2020-02-24T23:43:12.593" v="2337" actId="47"/>
        <pc:sldMkLst>
          <pc:docMk/>
          <pc:sldMk cId="649839447" sldId="594"/>
        </pc:sldMkLst>
      </pc:sldChg>
      <pc:sldChg chg="addSp delSp modSp add mod modNotesTx">
        <pc:chgData name="Daniel Valero" userId="31dd2ff7-9a08-462f-9096-6c487a317220" providerId="ADAL" clId="{13C66EB5-766D-4A69-8EF8-1B215228E3C9}" dt="2020-02-24T20:53:11.719" v="700" actId="20577"/>
        <pc:sldMkLst>
          <pc:docMk/>
          <pc:sldMk cId="2669391059" sldId="596"/>
        </pc:sldMkLst>
        <pc:spChg chg="mod">
          <ac:chgData name="Daniel Valero" userId="31dd2ff7-9a08-462f-9096-6c487a317220" providerId="ADAL" clId="{13C66EB5-766D-4A69-8EF8-1B215228E3C9}" dt="2020-02-24T19:52:36.657" v="235" actId="20577"/>
          <ac:spMkLst>
            <pc:docMk/>
            <pc:sldMk cId="2669391059" sldId="596"/>
            <ac:spMk id="2" creationId="{EB67312A-9819-43C6-8D84-D9136E6CFFCC}"/>
          </ac:spMkLst>
        </pc:spChg>
        <pc:spChg chg="mod">
          <ac:chgData name="Daniel Valero" userId="31dd2ff7-9a08-462f-9096-6c487a317220" providerId="ADAL" clId="{13C66EB5-766D-4A69-8EF8-1B215228E3C9}" dt="2020-02-24T19:53:08.766" v="247" actId="20577"/>
          <ac:spMkLst>
            <pc:docMk/>
            <pc:sldMk cId="2669391059" sldId="596"/>
            <ac:spMk id="3" creationId="{F35E8CBB-5A7D-4DEF-BAF7-8DD5D042F9E0}"/>
          </ac:spMkLst>
        </pc:spChg>
        <pc:spChg chg="del mod">
          <ac:chgData name="Daniel Valero" userId="31dd2ff7-9a08-462f-9096-6c487a317220" providerId="ADAL" clId="{13C66EB5-766D-4A69-8EF8-1B215228E3C9}" dt="2020-02-24T19:47:47.212" v="157" actId="478"/>
          <ac:spMkLst>
            <pc:docMk/>
            <pc:sldMk cId="2669391059" sldId="596"/>
            <ac:spMk id="4" creationId="{F3616A99-090F-45E1-9334-58D58B148205}"/>
          </ac:spMkLst>
        </pc:spChg>
        <pc:graphicFrameChg chg="add mod modGraphic">
          <ac:chgData name="Daniel Valero" userId="31dd2ff7-9a08-462f-9096-6c487a317220" providerId="ADAL" clId="{13C66EB5-766D-4A69-8EF8-1B215228E3C9}" dt="2020-02-24T20:22:51.833" v="388" actId="20577"/>
          <ac:graphicFrameMkLst>
            <pc:docMk/>
            <pc:sldMk cId="2669391059" sldId="596"/>
            <ac:graphicFrameMk id="5" creationId="{6038F7FE-1DA1-4DBB-B788-2C7EB166AC5C}"/>
          </ac:graphicFrameMkLst>
        </pc:graphicFrameChg>
      </pc:sldChg>
      <pc:sldChg chg="addSp delSp modSp add mod">
        <pc:chgData name="Daniel Valero" userId="31dd2ff7-9a08-462f-9096-6c487a317220" providerId="ADAL" clId="{13C66EB5-766D-4A69-8EF8-1B215228E3C9}" dt="2020-02-25T20:36:33.663" v="5340" actId="20577"/>
        <pc:sldMkLst>
          <pc:docMk/>
          <pc:sldMk cId="3243458079" sldId="597"/>
        </pc:sldMkLst>
        <pc:spChg chg="mod">
          <ac:chgData name="Daniel Valero" userId="31dd2ff7-9a08-462f-9096-6c487a317220" providerId="ADAL" clId="{13C66EB5-766D-4A69-8EF8-1B215228E3C9}" dt="2020-02-24T19:53:16.507" v="266" actId="20577"/>
          <ac:spMkLst>
            <pc:docMk/>
            <pc:sldMk cId="3243458079" sldId="597"/>
            <ac:spMk id="3" creationId="{F35E8CBB-5A7D-4DEF-BAF7-8DD5D042F9E0}"/>
          </ac:spMkLst>
        </pc:spChg>
        <pc:spChg chg="add del mod">
          <ac:chgData name="Daniel Valero" userId="31dd2ff7-9a08-462f-9096-6c487a317220" providerId="ADAL" clId="{13C66EB5-766D-4A69-8EF8-1B215228E3C9}" dt="2020-02-24T19:53:59.541" v="270" actId="478"/>
          <ac:spMkLst>
            <pc:docMk/>
            <pc:sldMk cId="3243458079" sldId="597"/>
            <ac:spMk id="6" creationId="{652BE7A5-DF05-4388-90F9-DFEC6D9E3FBB}"/>
          </ac:spMkLst>
        </pc:spChg>
        <pc:spChg chg="mod">
          <ac:chgData name="Daniel Valero" userId="31dd2ff7-9a08-462f-9096-6c487a317220" providerId="ADAL" clId="{13C66EB5-766D-4A69-8EF8-1B215228E3C9}" dt="2020-02-25T20:36:33.663" v="5340" actId="20577"/>
          <ac:spMkLst>
            <pc:docMk/>
            <pc:sldMk cId="3243458079" sldId="597"/>
            <ac:spMk id="8" creationId="{3A4A584F-B868-4B5A-BEFB-997DC9C28B12}"/>
          </ac:spMkLst>
        </pc:spChg>
        <pc:spChg chg="mod">
          <ac:chgData name="Daniel Valero" userId="31dd2ff7-9a08-462f-9096-6c487a317220" providerId="ADAL" clId="{13C66EB5-766D-4A69-8EF8-1B215228E3C9}" dt="2020-02-25T20:36:17.280" v="5331" actId="20577"/>
          <ac:spMkLst>
            <pc:docMk/>
            <pc:sldMk cId="3243458079" sldId="597"/>
            <ac:spMk id="25" creationId="{08B7A926-B07B-46B7-9603-96262AF94885}"/>
          </ac:spMkLst>
        </pc:spChg>
        <pc:spChg chg="mod">
          <ac:chgData name="Daniel Valero" userId="31dd2ff7-9a08-462f-9096-6c487a317220" providerId="ADAL" clId="{13C66EB5-766D-4A69-8EF8-1B215228E3C9}" dt="2020-02-25T20:36:23.082" v="5333" actId="1076"/>
          <ac:spMkLst>
            <pc:docMk/>
            <pc:sldMk cId="3243458079" sldId="597"/>
            <ac:spMk id="26" creationId="{C970A484-27D5-4279-9A27-48BE8DFF4CD6}"/>
          </ac:spMkLst>
        </pc:spChg>
        <pc:grpChg chg="add mod">
          <ac:chgData name="Daniel Valero" userId="31dd2ff7-9a08-462f-9096-6c487a317220" providerId="ADAL" clId="{13C66EB5-766D-4A69-8EF8-1B215228E3C9}" dt="2020-02-24T19:54:13.469" v="272" actId="1076"/>
          <ac:grpSpMkLst>
            <pc:docMk/>
            <pc:sldMk cId="3243458079" sldId="597"/>
            <ac:grpSpMk id="7" creationId="{048BBD3C-C129-4007-A4BD-EEEABAD7B5F3}"/>
          </ac:grpSpMkLst>
        </pc:grpChg>
        <pc:graphicFrameChg chg="del">
          <ac:chgData name="Daniel Valero" userId="31dd2ff7-9a08-462f-9096-6c487a317220" providerId="ADAL" clId="{13C66EB5-766D-4A69-8EF8-1B215228E3C9}" dt="2020-02-24T19:53:54.772" v="267" actId="478"/>
          <ac:graphicFrameMkLst>
            <pc:docMk/>
            <pc:sldMk cId="3243458079" sldId="597"/>
            <ac:graphicFrameMk id="5" creationId="{6038F7FE-1DA1-4DBB-B788-2C7EB166AC5C}"/>
          </ac:graphicFrameMkLst>
        </pc:graphicFrameChg>
      </pc:sldChg>
      <pc:sldChg chg="addSp delSp modSp add mod ord modNotesTx">
        <pc:chgData name="Daniel Valero" userId="31dd2ff7-9a08-462f-9096-6c487a317220" providerId="ADAL" clId="{13C66EB5-766D-4A69-8EF8-1B215228E3C9}" dt="2020-02-24T20:38:35.709" v="481"/>
        <pc:sldMkLst>
          <pc:docMk/>
          <pc:sldMk cId="1097784745" sldId="598"/>
        </pc:sldMkLst>
        <pc:spChg chg="mod">
          <ac:chgData name="Daniel Valero" userId="31dd2ff7-9a08-462f-9096-6c487a317220" providerId="ADAL" clId="{13C66EB5-766D-4A69-8EF8-1B215228E3C9}" dt="2020-02-24T19:59:56.145" v="281" actId="20577"/>
          <ac:spMkLst>
            <pc:docMk/>
            <pc:sldMk cId="1097784745" sldId="598"/>
            <ac:spMk id="2" creationId="{EB67312A-9819-43C6-8D84-D9136E6CFFCC}"/>
          </ac:spMkLst>
        </pc:spChg>
        <pc:spChg chg="mod">
          <ac:chgData name="Daniel Valero" userId="31dd2ff7-9a08-462f-9096-6c487a317220" providerId="ADAL" clId="{13C66EB5-766D-4A69-8EF8-1B215228E3C9}" dt="2020-02-24T20:00:34.055" v="291" actId="20577"/>
          <ac:spMkLst>
            <pc:docMk/>
            <pc:sldMk cId="1097784745" sldId="598"/>
            <ac:spMk id="3" creationId="{F35E8CBB-5A7D-4DEF-BAF7-8DD5D042F9E0}"/>
          </ac:spMkLst>
        </pc:spChg>
        <pc:spChg chg="mod">
          <ac:chgData name="Daniel Valero" userId="31dd2ff7-9a08-462f-9096-6c487a317220" providerId="ADAL" clId="{13C66EB5-766D-4A69-8EF8-1B215228E3C9}" dt="2020-02-24T20:03:29.677" v="338" actId="14100"/>
          <ac:spMkLst>
            <pc:docMk/>
            <pc:sldMk cId="1097784745" sldId="598"/>
            <ac:spMk id="4" creationId="{F3616A99-090F-45E1-9334-58D58B148205}"/>
          </ac:spMkLst>
        </pc:spChg>
        <pc:spChg chg="del">
          <ac:chgData name="Daniel Valero" userId="31dd2ff7-9a08-462f-9096-6c487a317220" providerId="ADAL" clId="{13C66EB5-766D-4A69-8EF8-1B215228E3C9}" dt="2020-02-24T20:00:38.513" v="293" actId="478"/>
          <ac:spMkLst>
            <pc:docMk/>
            <pc:sldMk cId="1097784745" sldId="598"/>
            <ac:spMk id="6" creationId="{169E72AA-BB18-4896-B740-EFF2AF1D1445}"/>
          </ac:spMkLst>
        </pc:spChg>
        <pc:spChg chg="del">
          <ac:chgData name="Daniel Valero" userId="31dd2ff7-9a08-462f-9096-6c487a317220" providerId="ADAL" clId="{13C66EB5-766D-4A69-8EF8-1B215228E3C9}" dt="2020-02-24T20:00:38.513" v="293" actId="478"/>
          <ac:spMkLst>
            <pc:docMk/>
            <pc:sldMk cId="1097784745" sldId="598"/>
            <ac:spMk id="7" creationId="{1ACA28AE-0391-4926-ADCC-37A802323BB7}"/>
          </ac:spMkLst>
        </pc:spChg>
        <pc:spChg chg="del">
          <ac:chgData name="Daniel Valero" userId="31dd2ff7-9a08-462f-9096-6c487a317220" providerId="ADAL" clId="{13C66EB5-766D-4A69-8EF8-1B215228E3C9}" dt="2020-02-24T20:00:38.513" v="293" actId="478"/>
          <ac:spMkLst>
            <pc:docMk/>
            <pc:sldMk cId="1097784745" sldId="598"/>
            <ac:spMk id="8" creationId="{11E6287D-903E-465A-BF53-468599B77B3D}"/>
          </ac:spMkLst>
        </pc:spChg>
        <pc:spChg chg="del">
          <ac:chgData name="Daniel Valero" userId="31dd2ff7-9a08-462f-9096-6c487a317220" providerId="ADAL" clId="{13C66EB5-766D-4A69-8EF8-1B215228E3C9}" dt="2020-02-24T20:00:38.513" v="293" actId="478"/>
          <ac:spMkLst>
            <pc:docMk/>
            <pc:sldMk cId="1097784745" sldId="598"/>
            <ac:spMk id="9" creationId="{C3C59E8B-3CB8-4F4A-B6E6-7EBF7C5DC086}"/>
          </ac:spMkLst>
        </pc:spChg>
        <pc:graphicFrameChg chg="del">
          <ac:chgData name="Daniel Valero" userId="31dd2ff7-9a08-462f-9096-6c487a317220" providerId="ADAL" clId="{13C66EB5-766D-4A69-8EF8-1B215228E3C9}" dt="2020-02-24T20:00:36.123" v="292" actId="478"/>
          <ac:graphicFrameMkLst>
            <pc:docMk/>
            <pc:sldMk cId="1097784745" sldId="598"/>
            <ac:graphicFrameMk id="5" creationId="{D7AA4849-9265-4768-8404-82A32BB2007A}"/>
          </ac:graphicFrameMkLst>
        </pc:graphicFrameChg>
        <pc:graphicFrameChg chg="add mod modGraphic">
          <ac:chgData name="Daniel Valero" userId="31dd2ff7-9a08-462f-9096-6c487a317220" providerId="ADAL" clId="{13C66EB5-766D-4A69-8EF8-1B215228E3C9}" dt="2020-02-24T20:03:33.045" v="339" actId="1076"/>
          <ac:graphicFrameMkLst>
            <pc:docMk/>
            <pc:sldMk cId="1097784745" sldId="598"/>
            <ac:graphicFrameMk id="10" creationId="{FCEC238A-94EC-4139-86D0-C4CF104F2FA0}"/>
          </ac:graphicFrameMkLst>
        </pc:graphicFrameChg>
      </pc:sldChg>
      <pc:sldChg chg="addSp delSp modSp add mod ord">
        <pc:chgData name="Daniel Valero" userId="31dd2ff7-9a08-462f-9096-6c487a317220" providerId="ADAL" clId="{13C66EB5-766D-4A69-8EF8-1B215228E3C9}" dt="2020-02-24T20:47:57.050" v="630" actId="790"/>
        <pc:sldMkLst>
          <pc:docMk/>
          <pc:sldMk cId="200290157" sldId="599"/>
        </pc:sldMkLst>
        <pc:spChg chg="mod">
          <ac:chgData name="Daniel Valero" userId="31dd2ff7-9a08-462f-9096-6c487a317220" providerId="ADAL" clId="{13C66EB5-766D-4A69-8EF8-1B215228E3C9}" dt="2020-02-24T20:47:57.050" v="630" actId="790"/>
          <ac:spMkLst>
            <pc:docMk/>
            <pc:sldMk cId="200290157" sldId="599"/>
            <ac:spMk id="2" creationId="{EB67312A-9819-43C6-8D84-D9136E6CFFCC}"/>
          </ac:spMkLst>
        </pc:spChg>
        <pc:spChg chg="mod">
          <ac:chgData name="Daniel Valero" userId="31dd2ff7-9a08-462f-9096-6c487a317220" providerId="ADAL" clId="{13C66EB5-766D-4A69-8EF8-1B215228E3C9}" dt="2020-02-24T20:47:57.050" v="630" actId="790"/>
          <ac:spMkLst>
            <pc:docMk/>
            <pc:sldMk cId="200290157" sldId="599"/>
            <ac:spMk id="3" creationId="{F35E8CBB-5A7D-4DEF-BAF7-8DD5D042F9E0}"/>
          </ac:spMkLst>
        </pc:spChg>
        <pc:spChg chg="mod">
          <ac:chgData name="Daniel Valero" userId="31dd2ff7-9a08-462f-9096-6c487a317220" providerId="ADAL" clId="{13C66EB5-766D-4A69-8EF8-1B215228E3C9}" dt="2020-02-24T20:47:57.050" v="630" actId="790"/>
          <ac:spMkLst>
            <pc:docMk/>
            <pc:sldMk cId="200290157" sldId="599"/>
            <ac:spMk id="4" creationId="{F3616A99-090F-45E1-9334-58D58B148205}"/>
          </ac:spMkLst>
        </pc:spChg>
        <pc:spChg chg="del">
          <ac:chgData name="Daniel Valero" userId="31dd2ff7-9a08-462f-9096-6c487a317220" providerId="ADAL" clId="{13C66EB5-766D-4A69-8EF8-1B215228E3C9}" dt="2020-02-24T20:04:23.842" v="359" actId="478"/>
          <ac:spMkLst>
            <pc:docMk/>
            <pc:sldMk cId="200290157" sldId="599"/>
            <ac:spMk id="6" creationId="{169E72AA-BB18-4896-B740-EFF2AF1D1445}"/>
          </ac:spMkLst>
        </pc:spChg>
        <pc:spChg chg="add del">
          <ac:chgData name="Daniel Valero" userId="31dd2ff7-9a08-462f-9096-6c487a317220" providerId="ADAL" clId="{13C66EB5-766D-4A69-8EF8-1B215228E3C9}" dt="2020-02-24T20:41:31.904" v="494" actId="478"/>
          <ac:spMkLst>
            <pc:docMk/>
            <pc:sldMk cId="200290157" sldId="599"/>
            <ac:spMk id="7" creationId="{1ACA28AE-0391-4926-ADCC-37A802323BB7}"/>
          </ac:spMkLst>
        </pc:spChg>
        <pc:spChg chg="del">
          <ac:chgData name="Daniel Valero" userId="31dd2ff7-9a08-462f-9096-6c487a317220" providerId="ADAL" clId="{13C66EB5-766D-4A69-8EF8-1B215228E3C9}" dt="2020-02-24T20:04:23.842" v="359" actId="478"/>
          <ac:spMkLst>
            <pc:docMk/>
            <pc:sldMk cId="200290157" sldId="599"/>
            <ac:spMk id="8" creationId="{11E6287D-903E-465A-BF53-468599B77B3D}"/>
          </ac:spMkLst>
        </pc:spChg>
        <pc:spChg chg="del">
          <ac:chgData name="Daniel Valero" userId="31dd2ff7-9a08-462f-9096-6c487a317220" providerId="ADAL" clId="{13C66EB5-766D-4A69-8EF8-1B215228E3C9}" dt="2020-02-24T20:04:23.842" v="359" actId="478"/>
          <ac:spMkLst>
            <pc:docMk/>
            <pc:sldMk cId="200290157" sldId="599"/>
            <ac:spMk id="9" creationId="{C3C59E8B-3CB8-4F4A-B6E6-7EBF7C5DC086}"/>
          </ac:spMkLst>
        </pc:spChg>
        <pc:graphicFrameChg chg="del">
          <ac:chgData name="Daniel Valero" userId="31dd2ff7-9a08-462f-9096-6c487a317220" providerId="ADAL" clId="{13C66EB5-766D-4A69-8EF8-1B215228E3C9}" dt="2020-02-24T20:04:23.842" v="359" actId="478"/>
          <ac:graphicFrameMkLst>
            <pc:docMk/>
            <pc:sldMk cId="200290157" sldId="599"/>
            <ac:graphicFrameMk id="5" creationId="{D7AA4849-9265-4768-8404-82A32BB2007A}"/>
          </ac:graphicFrameMkLst>
        </pc:graphicFrameChg>
        <pc:graphicFrameChg chg="add del mod modGraphic">
          <ac:chgData name="Daniel Valero" userId="31dd2ff7-9a08-462f-9096-6c487a317220" providerId="ADAL" clId="{13C66EB5-766D-4A69-8EF8-1B215228E3C9}" dt="2020-02-24T20:45:06.429" v="584" actId="478"/>
          <ac:graphicFrameMkLst>
            <pc:docMk/>
            <pc:sldMk cId="200290157" sldId="599"/>
            <ac:graphicFrameMk id="10" creationId="{E187638D-2B21-4A36-A70A-F5A0FAE62B1C}"/>
          </ac:graphicFrameMkLst>
        </pc:graphicFrameChg>
      </pc:sldChg>
      <pc:sldChg chg="addSp delSp modSp add mod modAnim modNotesTx">
        <pc:chgData name="Daniel Valero" userId="31dd2ff7-9a08-462f-9096-6c487a317220" providerId="ADAL" clId="{13C66EB5-766D-4A69-8EF8-1B215228E3C9}" dt="2020-02-24T20:56:26.883" v="733" actId="313"/>
        <pc:sldMkLst>
          <pc:docMk/>
          <pc:sldMk cId="994038105" sldId="600"/>
        </pc:sldMkLst>
        <pc:spChg chg="mod">
          <ac:chgData name="Daniel Valero" userId="31dd2ff7-9a08-462f-9096-6c487a317220" providerId="ADAL" clId="{13C66EB5-766D-4A69-8EF8-1B215228E3C9}" dt="2020-02-24T20:15:14.130" v="361" actId="20577"/>
          <ac:spMkLst>
            <pc:docMk/>
            <pc:sldMk cId="994038105" sldId="600"/>
            <ac:spMk id="2" creationId="{EB67312A-9819-43C6-8D84-D9136E6CFFCC}"/>
          </ac:spMkLst>
        </pc:spChg>
        <pc:spChg chg="add">
          <ac:chgData name="Daniel Valero" userId="31dd2ff7-9a08-462f-9096-6c487a317220" providerId="ADAL" clId="{13C66EB5-766D-4A69-8EF8-1B215228E3C9}" dt="2020-02-24T20:15:38.691" v="366"/>
          <ac:spMkLst>
            <pc:docMk/>
            <pc:sldMk cId="994038105" sldId="600"/>
            <ac:spMk id="27" creationId="{0EBCC322-8D94-4879-88A3-1EACCEE4E88A}"/>
          </ac:spMkLst>
        </pc:spChg>
        <pc:spChg chg="add">
          <ac:chgData name="Daniel Valero" userId="31dd2ff7-9a08-462f-9096-6c487a317220" providerId="ADAL" clId="{13C66EB5-766D-4A69-8EF8-1B215228E3C9}" dt="2020-02-24T20:15:38.691" v="366"/>
          <ac:spMkLst>
            <pc:docMk/>
            <pc:sldMk cId="994038105" sldId="600"/>
            <ac:spMk id="28" creationId="{EE914440-D6FA-4328-8B96-B3F9D0E47EE0}"/>
          </ac:spMkLst>
        </pc:spChg>
        <pc:spChg chg="add del">
          <ac:chgData name="Daniel Valero" userId="31dd2ff7-9a08-462f-9096-6c487a317220" providerId="ADAL" clId="{13C66EB5-766D-4A69-8EF8-1B215228E3C9}" dt="2020-02-24T20:15:41.739" v="367" actId="478"/>
          <ac:spMkLst>
            <pc:docMk/>
            <pc:sldMk cId="994038105" sldId="600"/>
            <ac:spMk id="30" creationId="{02868D91-489C-4AB4-9DD6-43F0D5425C60}"/>
          </ac:spMkLst>
        </pc:spChg>
        <pc:grpChg chg="del">
          <ac:chgData name="Daniel Valero" userId="31dd2ff7-9a08-462f-9096-6c487a317220" providerId="ADAL" clId="{13C66EB5-766D-4A69-8EF8-1B215228E3C9}" dt="2020-02-24T20:15:37.643" v="365" actId="478"/>
          <ac:grpSpMkLst>
            <pc:docMk/>
            <pc:sldMk cId="994038105" sldId="600"/>
            <ac:grpSpMk id="7" creationId="{048BBD3C-C129-4007-A4BD-EEEABAD7B5F3}"/>
          </ac:grpSpMkLst>
        </pc:grpChg>
        <pc:picChg chg="add">
          <ac:chgData name="Daniel Valero" userId="31dd2ff7-9a08-462f-9096-6c487a317220" providerId="ADAL" clId="{13C66EB5-766D-4A69-8EF8-1B215228E3C9}" dt="2020-02-24T20:15:38.691" v="366"/>
          <ac:picMkLst>
            <pc:docMk/>
            <pc:sldMk cId="994038105" sldId="600"/>
            <ac:picMk id="29" creationId="{A06039F7-6DC4-4083-B7C7-D28D20F13287}"/>
          </ac:picMkLst>
        </pc:picChg>
        <pc:cxnChg chg="mod">
          <ac:chgData name="Daniel Valero" userId="31dd2ff7-9a08-462f-9096-6c487a317220" providerId="ADAL" clId="{13C66EB5-766D-4A69-8EF8-1B215228E3C9}" dt="2020-02-24T20:15:37.643" v="365" actId="478"/>
          <ac:cxnSpMkLst>
            <pc:docMk/>
            <pc:sldMk cId="994038105" sldId="600"/>
            <ac:cxnSpMk id="15" creationId="{97D456B4-6E80-4A8A-875B-ED1655221466}"/>
          </ac:cxnSpMkLst>
        </pc:cxnChg>
        <pc:cxnChg chg="mod">
          <ac:chgData name="Daniel Valero" userId="31dd2ff7-9a08-462f-9096-6c487a317220" providerId="ADAL" clId="{13C66EB5-766D-4A69-8EF8-1B215228E3C9}" dt="2020-02-24T20:15:37.643" v="365" actId="478"/>
          <ac:cxnSpMkLst>
            <pc:docMk/>
            <pc:sldMk cId="994038105" sldId="600"/>
            <ac:cxnSpMk id="16" creationId="{BFC7F850-0284-4AFB-B10F-2CAC0ADC3398}"/>
          </ac:cxnSpMkLst>
        </pc:cxnChg>
        <pc:cxnChg chg="mod">
          <ac:chgData name="Daniel Valero" userId="31dd2ff7-9a08-462f-9096-6c487a317220" providerId="ADAL" clId="{13C66EB5-766D-4A69-8EF8-1B215228E3C9}" dt="2020-02-24T20:15:37.643" v="365" actId="478"/>
          <ac:cxnSpMkLst>
            <pc:docMk/>
            <pc:sldMk cId="994038105" sldId="600"/>
            <ac:cxnSpMk id="17" creationId="{C3BFF459-53C3-41B2-807A-85F484FED82B}"/>
          </ac:cxnSpMkLst>
        </pc:cxnChg>
        <pc:cxnChg chg="mod">
          <ac:chgData name="Daniel Valero" userId="31dd2ff7-9a08-462f-9096-6c487a317220" providerId="ADAL" clId="{13C66EB5-766D-4A69-8EF8-1B215228E3C9}" dt="2020-02-24T20:15:37.643" v="365" actId="478"/>
          <ac:cxnSpMkLst>
            <pc:docMk/>
            <pc:sldMk cId="994038105" sldId="600"/>
            <ac:cxnSpMk id="18" creationId="{8800EBBF-FB23-46D8-81E6-220363789C47}"/>
          </ac:cxnSpMkLst>
        </pc:cxnChg>
        <pc:cxnChg chg="mod">
          <ac:chgData name="Daniel Valero" userId="31dd2ff7-9a08-462f-9096-6c487a317220" providerId="ADAL" clId="{13C66EB5-766D-4A69-8EF8-1B215228E3C9}" dt="2020-02-24T20:15:37.643" v="365" actId="478"/>
          <ac:cxnSpMkLst>
            <pc:docMk/>
            <pc:sldMk cId="994038105" sldId="600"/>
            <ac:cxnSpMk id="19" creationId="{5F46FE2E-43B3-45A6-8BAF-8E88A93E5652}"/>
          </ac:cxnSpMkLst>
        </pc:cxnChg>
        <pc:cxnChg chg="mod">
          <ac:chgData name="Daniel Valero" userId="31dd2ff7-9a08-462f-9096-6c487a317220" providerId="ADAL" clId="{13C66EB5-766D-4A69-8EF8-1B215228E3C9}" dt="2020-02-24T20:15:37.643" v="365" actId="478"/>
          <ac:cxnSpMkLst>
            <pc:docMk/>
            <pc:sldMk cId="994038105" sldId="600"/>
            <ac:cxnSpMk id="20" creationId="{6109B004-4C23-4FAC-99F1-A21401BF2691}"/>
          </ac:cxnSpMkLst>
        </pc:cxnChg>
        <pc:cxnChg chg="mod">
          <ac:chgData name="Daniel Valero" userId="31dd2ff7-9a08-462f-9096-6c487a317220" providerId="ADAL" clId="{13C66EB5-766D-4A69-8EF8-1B215228E3C9}" dt="2020-02-24T20:15:37.643" v="365" actId="478"/>
          <ac:cxnSpMkLst>
            <pc:docMk/>
            <pc:sldMk cId="994038105" sldId="600"/>
            <ac:cxnSpMk id="21" creationId="{7A0C72D7-5F3A-41AE-A7DD-B46CE32D7D17}"/>
          </ac:cxnSpMkLst>
        </pc:cxnChg>
        <pc:cxnChg chg="mod">
          <ac:chgData name="Daniel Valero" userId="31dd2ff7-9a08-462f-9096-6c487a317220" providerId="ADAL" clId="{13C66EB5-766D-4A69-8EF8-1B215228E3C9}" dt="2020-02-24T20:15:37.643" v="365" actId="478"/>
          <ac:cxnSpMkLst>
            <pc:docMk/>
            <pc:sldMk cId="994038105" sldId="600"/>
            <ac:cxnSpMk id="22" creationId="{E15E9F15-6CBF-432B-B1DD-6B25A3258E17}"/>
          </ac:cxnSpMkLst>
        </pc:cxnChg>
      </pc:sldChg>
      <pc:sldChg chg="addSp delSp modSp add mod delAnim modNotesTx">
        <pc:chgData name="Daniel Valero" userId="31dd2ff7-9a08-462f-9096-6c487a317220" providerId="ADAL" clId="{13C66EB5-766D-4A69-8EF8-1B215228E3C9}" dt="2020-02-24T20:54:19.085" v="711" actId="20577"/>
        <pc:sldMkLst>
          <pc:docMk/>
          <pc:sldMk cId="3121385187" sldId="601"/>
        </pc:sldMkLst>
        <pc:spChg chg="mod">
          <ac:chgData name="Daniel Valero" userId="31dd2ff7-9a08-462f-9096-6c487a317220" providerId="ADAL" clId="{13C66EB5-766D-4A69-8EF8-1B215228E3C9}" dt="2020-02-24T20:16:12.956" v="380" actId="20577"/>
          <ac:spMkLst>
            <pc:docMk/>
            <pc:sldMk cId="3121385187" sldId="601"/>
            <ac:spMk id="2" creationId="{EB67312A-9819-43C6-8D84-D9136E6CFFCC}"/>
          </ac:spMkLst>
        </pc:spChg>
        <pc:spChg chg="add del">
          <ac:chgData name="Daniel Valero" userId="31dd2ff7-9a08-462f-9096-6c487a317220" providerId="ADAL" clId="{13C66EB5-766D-4A69-8EF8-1B215228E3C9}" dt="2020-02-24T20:24:36.366" v="390"/>
          <ac:spMkLst>
            <pc:docMk/>
            <pc:sldMk cId="3121385187" sldId="601"/>
            <ac:spMk id="4" creationId="{377FE4D7-865E-46F2-BC48-5B2BDBC8F9D1}"/>
          </ac:spMkLst>
        </pc:spChg>
        <pc:spChg chg="add mod">
          <ac:chgData name="Daniel Valero" userId="31dd2ff7-9a08-462f-9096-6c487a317220" providerId="ADAL" clId="{13C66EB5-766D-4A69-8EF8-1B215228E3C9}" dt="2020-02-24T20:27:54.284" v="435" actId="20577"/>
          <ac:spMkLst>
            <pc:docMk/>
            <pc:sldMk cId="3121385187" sldId="601"/>
            <ac:spMk id="5" creationId="{24C1A325-6F43-4F8B-AC97-1072BF0A84B4}"/>
          </ac:spMkLst>
        </pc:spChg>
        <pc:spChg chg="add del">
          <ac:chgData name="Daniel Valero" userId="31dd2ff7-9a08-462f-9096-6c487a317220" providerId="ADAL" clId="{13C66EB5-766D-4A69-8EF8-1B215228E3C9}" dt="2020-02-24T20:16:23.222" v="385" actId="478"/>
          <ac:spMkLst>
            <pc:docMk/>
            <pc:sldMk cId="3121385187" sldId="601"/>
            <ac:spMk id="8" creationId="{50D6B4A6-30AF-4756-9F72-517DC24A4DCF}"/>
          </ac:spMkLst>
        </pc:spChg>
        <pc:spChg chg="del">
          <ac:chgData name="Daniel Valero" userId="31dd2ff7-9a08-462f-9096-6c487a317220" providerId="ADAL" clId="{13C66EB5-766D-4A69-8EF8-1B215228E3C9}" dt="2020-02-24T20:16:18.870" v="383" actId="478"/>
          <ac:spMkLst>
            <pc:docMk/>
            <pc:sldMk cId="3121385187" sldId="601"/>
            <ac:spMk id="27" creationId="{0EBCC322-8D94-4879-88A3-1EACCEE4E88A}"/>
          </ac:spMkLst>
        </pc:spChg>
        <pc:spChg chg="del">
          <ac:chgData name="Daniel Valero" userId="31dd2ff7-9a08-462f-9096-6c487a317220" providerId="ADAL" clId="{13C66EB5-766D-4A69-8EF8-1B215228E3C9}" dt="2020-02-24T20:16:18.325" v="382" actId="478"/>
          <ac:spMkLst>
            <pc:docMk/>
            <pc:sldMk cId="3121385187" sldId="601"/>
            <ac:spMk id="28" creationId="{EE914440-D6FA-4328-8B96-B3F9D0E47EE0}"/>
          </ac:spMkLst>
        </pc:spChg>
        <pc:picChg chg="add mod modCrop">
          <ac:chgData name="Daniel Valero" userId="31dd2ff7-9a08-462f-9096-6c487a317220" providerId="ADAL" clId="{13C66EB5-766D-4A69-8EF8-1B215228E3C9}" dt="2020-02-24T20:26:32.181" v="420" actId="1076"/>
          <ac:picMkLst>
            <pc:docMk/>
            <pc:sldMk cId="3121385187" sldId="601"/>
            <ac:picMk id="7" creationId="{6310470A-8C33-4F52-8EE5-384C80890185}"/>
          </ac:picMkLst>
        </pc:picChg>
        <pc:picChg chg="del">
          <ac:chgData name="Daniel Valero" userId="31dd2ff7-9a08-462f-9096-6c487a317220" providerId="ADAL" clId="{13C66EB5-766D-4A69-8EF8-1B215228E3C9}" dt="2020-02-24T20:16:17.795" v="381" actId="478"/>
          <ac:picMkLst>
            <pc:docMk/>
            <pc:sldMk cId="3121385187" sldId="601"/>
            <ac:picMk id="29" creationId="{A06039F7-6DC4-4083-B7C7-D28D20F13287}"/>
          </ac:picMkLst>
        </pc:picChg>
      </pc:sldChg>
      <pc:sldChg chg="modSp add mod modNotesTx">
        <pc:chgData name="Daniel Valero" userId="31dd2ff7-9a08-462f-9096-6c487a317220" providerId="ADAL" clId="{13C66EB5-766D-4A69-8EF8-1B215228E3C9}" dt="2020-02-25T18:44:52.967" v="4334" actId="20577"/>
        <pc:sldMkLst>
          <pc:docMk/>
          <pc:sldMk cId="2420422319" sldId="602"/>
        </pc:sldMkLst>
        <pc:spChg chg="mod">
          <ac:chgData name="Daniel Valero" userId="31dd2ff7-9a08-462f-9096-6c487a317220" providerId="ADAL" clId="{13C66EB5-766D-4A69-8EF8-1B215228E3C9}" dt="2020-02-24T20:43:32.744" v="553" actId="20577"/>
          <ac:spMkLst>
            <pc:docMk/>
            <pc:sldMk cId="2420422319" sldId="602"/>
            <ac:spMk id="3" creationId="{F35E8CBB-5A7D-4DEF-BAF7-8DD5D042F9E0}"/>
          </ac:spMkLst>
        </pc:spChg>
        <pc:spChg chg="mod">
          <ac:chgData name="Daniel Valero" userId="31dd2ff7-9a08-462f-9096-6c487a317220" providerId="ADAL" clId="{13C66EB5-766D-4A69-8EF8-1B215228E3C9}" dt="2020-02-24T20:43:37.126" v="556" actId="14100"/>
          <ac:spMkLst>
            <pc:docMk/>
            <pc:sldMk cId="2420422319" sldId="602"/>
            <ac:spMk id="4" creationId="{F3616A99-090F-45E1-9334-58D58B148205}"/>
          </ac:spMkLst>
        </pc:spChg>
        <pc:graphicFrameChg chg="mod">
          <ac:chgData name="Daniel Valero" userId="31dd2ff7-9a08-462f-9096-6c487a317220" providerId="ADAL" clId="{13C66EB5-766D-4A69-8EF8-1B215228E3C9}" dt="2020-02-25T18:44:52.967" v="4334" actId="20577"/>
          <ac:graphicFrameMkLst>
            <pc:docMk/>
            <pc:sldMk cId="2420422319" sldId="602"/>
            <ac:graphicFrameMk id="10" creationId="{E187638D-2B21-4A36-A70A-F5A0FAE62B1C}"/>
          </ac:graphicFrameMkLst>
        </pc:graphicFrameChg>
      </pc:sldChg>
      <pc:sldChg chg="addSp delSp modSp add mod delAnim modAnim modNotesTx">
        <pc:chgData name="Daniel Valero" userId="31dd2ff7-9a08-462f-9096-6c487a317220" providerId="ADAL" clId="{13C66EB5-766D-4A69-8EF8-1B215228E3C9}" dt="2020-02-25T19:08:42.912" v="4917" actId="20577"/>
        <pc:sldMkLst>
          <pc:docMk/>
          <pc:sldMk cId="1081358570" sldId="603"/>
        </pc:sldMkLst>
        <pc:spChg chg="mod">
          <ac:chgData name="Daniel Valero" userId="31dd2ff7-9a08-462f-9096-6c487a317220" providerId="ADAL" clId="{13C66EB5-766D-4A69-8EF8-1B215228E3C9}" dt="2020-02-25T19:08:42.912" v="4917" actId="20577"/>
          <ac:spMkLst>
            <pc:docMk/>
            <pc:sldMk cId="1081358570" sldId="603"/>
            <ac:spMk id="2" creationId="{EB67312A-9819-43C6-8D84-D9136E6CFFCC}"/>
          </ac:spMkLst>
        </pc:spChg>
        <pc:spChg chg="mod">
          <ac:chgData name="Daniel Valero" userId="31dd2ff7-9a08-462f-9096-6c487a317220" providerId="ADAL" clId="{13C66EB5-766D-4A69-8EF8-1B215228E3C9}" dt="2020-02-25T18:59:39.508" v="4704" actId="20577"/>
          <ac:spMkLst>
            <pc:docMk/>
            <pc:sldMk cId="1081358570" sldId="603"/>
            <ac:spMk id="3" creationId="{F35E8CBB-5A7D-4DEF-BAF7-8DD5D042F9E0}"/>
          </ac:spMkLst>
        </pc:spChg>
        <pc:spChg chg="del">
          <ac:chgData name="Daniel Valero" userId="31dd2ff7-9a08-462f-9096-6c487a317220" providerId="ADAL" clId="{13C66EB5-766D-4A69-8EF8-1B215228E3C9}" dt="2020-02-24T21:05:18.191" v="784" actId="478"/>
          <ac:spMkLst>
            <pc:docMk/>
            <pc:sldMk cId="1081358570" sldId="603"/>
            <ac:spMk id="4" creationId="{F3616A99-090F-45E1-9334-58D58B148205}"/>
          </ac:spMkLst>
        </pc:spChg>
        <pc:spChg chg="add mod">
          <ac:chgData name="Daniel Valero" userId="31dd2ff7-9a08-462f-9096-6c487a317220" providerId="ADAL" clId="{13C66EB5-766D-4A69-8EF8-1B215228E3C9}" dt="2020-02-25T18:54:57.858" v="4626" actId="1036"/>
          <ac:spMkLst>
            <pc:docMk/>
            <pc:sldMk cId="1081358570" sldId="603"/>
            <ac:spMk id="5" creationId="{7FE2D393-5B11-4ED9-A753-3242CAC2B5B2}"/>
          </ac:spMkLst>
        </pc:spChg>
        <pc:spChg chg="add mod">
          <ac:chgData name="Daniel Valero" userId="31dd2ff7-9a08-462f-9096-6c487a317220" providerId="ADAL" clId="{13C66EB5-766D-4A69-8EF8-1B215228E3C9}" dt="2020-02-25T18:54:57.858" v="4626" actId="1036"/>
          <ac:spMkLst>
            <pc:docMk/>
            <pc:sldMk cId="1081358570" sldId="603"/>
            <ac:spMk id="7" creationId="{439CE905-1E40-4DF4-AAB7-B4708DE39F71}"/>
          </ac:spMkLst>
        </pc:spChg>
        <pc:spChg chg="add mod">
          <ac:chgData name="Daniel Valero" userId="31dd2ff7-9a08-462f-9096-6c487a317220" providerId="ADAL" clId="{13C66EB5-766D-4A69-8EF8-1B215228E3C9}" dt="2020-02-25T18:54:57.858" v="4626" actId="1036"/>
          <ac:spMkLst>
            <pc:docMk/>
            <pc:sldMk cId="1081358570" sldId="603"/>
            <ac:spMk id="8" creationId="{9642542A-325A-444C-943B-6EBAEF3A41AC}"/>
          </ac:spMkLst>
        </pc:spChg>
        <pc:spChg chg="add del mod">
          <ac:chgData name="Daniel Valero" userId="31dd2ff7-9a08-462f-9096-6c487a317220" providerId="ADAL" clId="{13C66EB5-766D-4A69-8EF8-1B215228E3C9}" dt="2020-02-25T18:54:44.777" v="4620" actId="478"/>
          <ac:spMkLst>
            <pc:docMk/>
            <pc:sldMk cId="1081358570" sldId="603"/>
            <ac:spMk id="9" creationId="{D1BB2EE6-473C-42AB-8561-8F7A64D911F4}"/>
          </ac:spMkLst>
        </pc:spChg>
        <pc:spChg chg="add mod">
          <ac:chgData name="Daniel Valero" userId="31dd2ff7-9a08-462f-9096-6c487a317220" providerId="ADAL" clId="{13C66EB5-766D-4A69-8EF8-1B215228E3C9}" dt="2020-02-25T18:54:57.858" v="4626" actId="1036"/>
          <ac:spMkLst>
            <pc:docMk/>
            <pc:sldMk cId="1081358570" sldId="603"/>
            <ac:spMk id="10" creationId="{62D72855-10C5-44D0-9958-4F6E50B4ADA5}"/>
          </ac:spMkLst>
        </pc:spChg>
        <pc:spChg chg="add mod">
          <ac:chgData name="Daniel Valero" userId="31dd2ff7-9a08-462f-9096-6c487a317220" providerId="ADAL" clId="{13C66EB5-766D-4A69-8EF8-1B215228E3C9}" dt="2020-02-25T18:54:57.858" v="4626" actId="1036"/>
          <ac:spMkLst>
            <pc:docMk/>
            <pc:sldMk cId="1081358570" sldId="603"/>
            <ac:spMk id="11" creationId="{2224CD71-60DA-4317-87E5-72D450424779}"/>
          </ac:spMkLst>
        </pc:spChg>
        <pc:spChg chg="add mod">
          <ac:chgData name="Daniel Valero" userId="31dd2ff7-9a08-462f-9096-6c487a317220" providerId="ADAL" clId="{13C66EB5-766D-4A69-8EF8-1B215228E3C9}" dt="2020-02-25T18:54:57.858" v="4626" actId="1036"/>
          <ac:spMkLst>
            <pc:docMk/>
            <pc:sldMk cId="1081358570" sldId="603"/>
            <ac:spMk id="12" creationId="{B21B801E-94C2-416D-B6EF-30A009D6BABB}"/>
          </ac:spMkLst>
        </pc:spChg>
        <pc:spChg chg="add del">
          <ac:chgData name="Daniel Valero" userId="31dd2ff7-9a08-462f-9096-6c487a317220" providerId="ADAL" clId="{13C66EB5-766D-4A69-8EF8-1B215228E3C9}" dt="2020-02-25T18:48:27.113" v="4368" actId="21"/>
          <ac:spMkLst>
            <pc:docMk/>
            <pc:sldMk cId="1081358570" sldId="603"/>
            <ac:spMk id="13" creationId="{2AC6324E-FF31-4FB3-BE78-B5BF3456CE89}"/>
          </ac:spMkLst>
        </pc:spChg>
        <pc:spChg chg="add mod">
          <ac:chgData name="Daniel Valero" userId="31dd2ff7-9a08-462f-9096-6c487a317220" providerId="ADAL" clId="{13C66EB5-766D-4A69-8EF8-1B215228E3C9}" dt="2020-02-25T18:54:57.858" v="4626" actId="1036"/>
          <ac:spMkLst>
            <pc:docMk/>
            <pc:sldMk cId="1081358570" sldId="603"/>
            <ac:spMk id="14" creationId="{E35CE312-6ED7-44DD-8D1B-615F04F0D4D1}"/>
          </ac:spMkLst>
        </pc:spChg>
        <pc:spChg chg="add mod">
          <ac:chgData name="Daniel Valero" userId="31dd2ff7-9a08-462f-9096-6c487a317220" providerId="ADAL" clId="{13C66EB5-766D-4A69-8EF8-1B215228E3C9}" dt="2020-02-25T18:54:57.858" v="4626" actId="1036"/>
          <ac:spMkLst>
            <pc:docMk/>
            <pc:sldMk cId="1081358570" sldId="603"/>
            <ac:spMk id="15" creationId="{75366D26-DDCF-4B22-A6CC-1086C4A66DDF}"/>
          </ac:spMkLst>
        </pc:spChg>
        <pc:spChg chg="add mod">
          <ac:chgData name="Daniel Valero" userId="31dd2ff7-9a08-462f-9096-6c487a317220" providerId="ADAL" clId="{13C66EB5-766D-4A69-8EF8-1B215228E3C9}" dt="2020-02-25T18:54:57.858" v="4626" actId="1036"/>
          <ac:spMkLst>
            <pc:docMk/>
            <pc:sldMk cId="1081358570" sldId="603"/>
            <ac:spMk id="16" creationId="{76CD0A62-E722-4033-8C2A-35930BC70C38}"/>
          </ac:spMkLst>
        </pc:spChg>
        <pc:spChg chg="add mod">
          <ac:chgData name="Daniel Valero" userId="31dd2ff7-9a08-462f-9096-6c487a317220" providerId="ADAL" clId="{13C66EB5-766D-4A69-8EF8-1B215228E3C9}" dt="2020-02-25T18:54:57.858" v="4626" actId="1036"/>
          <ac:spMkLst>
            <pc:docMk/>
            <pc:sldMk cId="1081358570" sldId="603"/>
            <ac:spMk id="17" creationId="{01F8DCA1-0A1C-4589-A114-F7260B8D3605}"/>
          </ac:spMkLst>
        </pc:spChg>
        <pc:spChg chg="add mod">
          <ac:chgData name="Daniel Valero" userId="31dd2ff7-9a08-462f-9096-6c487a317220" providerId="ADAL" clId="{13C66EB5-766D-4A69-8EF8-1B215228E3C9}" dt="2020-02-25T18:54:57.858" v="4626" actId="1036"/>
          <ac:spMkLst>
            <pc:docMk/>
            <pc:sldMk cId="1081358570" sldId="603"/>
            <ac:spMk id="18" creationId="{91ADEC72-9D40-40A7-9F63-13F01E33DF64}"/>
          </ac:spMkLst>
        </pc:spChg>
        <pc:spChg chg="add mod">
          <ac:chgData name="Daniel Valero" userId="31dd2ff7-9a08-462f-9096-6c487a317220" providerId="ADAL" clId="{13C66EB5-766D-4A69-8EF8-1B215228E3C9}" dt="2020-02-25T18:54:57.858" v="4626" actId="1036"/>
          <ac:spMkLst>
            <pc:docMk/>
            <pc:sldMk cId="1081358570" sldId="603"/>
            <ac:spMk id="19" creationId="{8C0223B9-0C0B-4D03-835C-BB276F2AFE6A}"/>
          </ac:spMkLst>
        </pc:spChg>
        <pc:spChg chg="add del">
          <ac:chgData name="Daniel Valero" userId="31dd2ff7-9a08-462f-9096-6c487a317220" providerId="ADAL" clId="{13C66EB5-766D-4A69-8EF8-1B215228E3C9}" dt="2020-02-25T18:48:27.113" v="4368" actId="21"/>
          <ac:spMkLst>
            <pc:docMk/>
            <pc:sldMk cId="1081358570" sldId="603"/>
            <ac:spMk id="20" creationId="{01AB014C-EC29-45BE-8197-288FC6994114}"/>
          </ac:spMkLst>
        </pc:spChg>
        <pc:spChg chg="add mod">
          <ac:chgData name="Daniel Valero" userId="31dd2ff7-9a08-462f-9096-6c487a317220" providerId="ADAL" clId="{13C66EB5-766D-4A69-8EF8-1B215228E3C9}" dt="2020-02-25T18:54:57.858" v="4626" actId="1036"/>
          <ac:spMkLst>
            <pc:docMk/>
            <pc:sldMk cId="1081358570" sldId="603"/>
            <ac:spMk id="21" creationId="{59BC122F-56A4-4744-ACD8-1FA161AF9637}"/>
          </ac:spMkLst>
        </pc:spChg>
        <pc:spChg chg="add mod">
          <ac:chgData name="Daniel Valero" userId="31dd2ff7-9a08-462f-9096-6c487a317220" providerId="ADAL" clId="{13C66EB5-766D-4A69-8EF8-1B215228E3C9}" dt="2020-02-25T18:54:57.858" v="4626" actId="1036"/>
          <ac:spMkLst>
            <pc:docMk/>
            <pc:sldMk cId="1081358570" sldId="603"/>
            <ac:spMk id="22" creationId="{F261C6AE-C9E6-4EA3-9806-760F4DF13F16}"/>
          </ac:spMkLst>
        </pc:spChg>
        <pc:spChg chg="add mod">
          <ac:chgData name="Daniel Valero" userId="31dd2ff7-9a08-462f-9096-6c487a317220" providerId="ADAL" clId="{13C66EB5-766D-4A69-8EF8-1B215228E3C9}" dt="2020-02-25T18:54:57.858" v="4626" actId="1036"/>
          <ac:spMkLst>
            <pc:docMk/>
            <pc:sldMk cId="1081358570" sldId="603"/>
            <ac:spMk id="23" creationId="{1481159C-E664-4223-BE03-5DA2A61AF604}"/>
          </ac:spMkLst>
        </pc:spChg>
        <pc:spChg chg="add mod">
          <ac:chgData name="Daniel Valero" userId="31dd2ff7-9a08-462f-9096-6c487a317220" providerId="ADAL" clId="{13C66EB5-766D-4A69-8EF8-1B215228E3C9}" dt="2020-02-25T18:54:57.858" v="4626" actId="1036"/>
          <ac:spMkLst>
            <pc:docMk/>
            <pc:sldMk cId="1081358570" sldId="603"/>
            <ac:spMk id="24" creationId="{65080DA3-54A4-41FB-B39B-9A2782630F40}"/>
          </ac:spMkLst>
        </pc:spChg>
        <pc:spChg chg="add del mod">
          <ac:chgData name="Daniel Valero" userId="31dd2ff7-9a08-462f-9096-6c487a317220" providerId="ADAL" clId="{13C66EB5-766D-4A69-8EF8-1B215228E3C9}" dt="2020-02-25T18:48:27.113" v="4368" actId="21"/>
          <ac:spMkLst>
            <pc:docMk/>
            <pc:sldMk cId="1081358570" sldId="603"/>
            <ac:spMk id="25" creationId="{7115C16D-4B04-48B9-A93A-ADF8B52FFB14}"/>
          </ac:spMkLst>
        </pc:spChg>
        <pc:spChg chg="add del">
          <ac:chgData name="Daniel Valero" userId="31dd2ff7-9a08-462f-9096-6c487a317220" providerId="ADAL" clId="{13C66EB5-766D-4A69-8EF8-1B215228E3C9}" dt="2020-02-25T18:48:32.966" v="4372" actId="21"/>
          <ac:spMkLst>
            <pc:docMk/>
            <pc:sldMk cId="1081358570" sldId="603"/>
            <ac:spMk id="27" creationId="{44588A58-1FC9-4264-A78C-B155B98D54C3}"/>
          </ac:spMkLst>
        </pc:spChg>
        <pc:spChg chg="add del">
          <ac:chgData name="Daniel Valero" userId="31dd2ff7-9a08-462f-9096-6c487a317220" providerId="ADAL" clId="{13C66EB5-766D-4A69-8EF8-1B215228E3C9}" dt="2020-02-25T18:48:32.966" v="4372" actId="21"/>
          <ac:spMkLst>
            <pc:docMk/>
            <pc:sldMk cId="1081358570" sldId="603"/>
            <ac:spMk id="28" creationId="{18974CFA-53C0-4513-A225-98C00642D1D9}"/>
          </ac:spMkLst>
        </pc:spChg>
        <pc:spChg chg="add del">
          <ac:chgData name="Daniel Valero" userId="31dd2ff7-9a08-462f-9096-6c487a317220" providerId="ADAL" clId="{13C66EB5-766D-4A69-8EF8-1B215228E3C9}" dt="2020-02-25T18:48:32.966" v="4372" actId="21"/>
          <ac:spMkLst>
            <pc:docMk/>
            <pc:sldMk cId="1081358570" sldId="603"/>
            <ac:spMk id="29" creationId="{1887B5F4-B110-4720-B73B-7F114F3D54AA}"/>
          </ac:spMkLst>
        </pc:spChg>
        <pc:spChg chg="add del mod">
          <ac:chgData name="Daniel Valero" userId="31dd2ff7-9a08-462f-9096-6c487a317220" providerId="ADAL" clId="{13C66EB5-766D-4A69-8EF8-1B215228E3C9}" dt="2020-02-25T18:51:11.607" v="4496"/>
          <ac:spMkLst>
            <pc:docMk/>
            <pc:sldMk cId="1081358570" sldId="603"/>
            <ac:spMk id="30" creationId="{96DCD975-214E-43DA-9FF9-037718553FDD}"/>
          </ac:spMkLst>
        </pc:spChg>
        <pc:spChg chg="add del mod">
          <ac:chgData name="Daniel Valero" userId="31dd2ff7-9a08-462f-9096-6c487a317220" providerId="ADAL" clId="{13C66EB5-766D-4A69-8EF8-1B215228E3C9}" dt="2020-02-25T18:51:11.612" v="4498"/>
          <ac:spMkLst>
            <pc:docMk/>
            <pc:sldMk cId="1081358570" sldId="603"/>
            <ac:spMk id="31" creationId="{1606360C-2A4C-4601-816F-B40E8DB550BD}"/>
          </ac:spMkLst>
        </pc:spChg>
        <pc:spChg chg="add del mod">
          <ac:chgData name="Daniel Valero" userId="31dd2ff7-9a08-462f-9096-6c487a317220" providerId="ADAL" clId="{13C66EB5-766D-4A69-8EF8-1B215228E3C9}" dt="2020-02-25T18:51:11.615" v="4500"/>
          <ac:spMkLst>
            <pc:docMk/>
            <pc:sldMk cId="1081358570" sldId="603"/>
            <ac:spMk id="32" creationId="{51FB4478-E710-4AAD-8BA5-7EE40E6D862D}"/>
          </ac:spMkLst>
        </pc:spChg>
        <pc:spChg chg="add mod">
          <ac:chgData name="Daniel Valero" userId="31dd2ff7-9a08-462f-9096-6c487a317220" providerId="ADAL" clId="{13C66EB5-766D-4A69-8EF8-1B215228E3C9}" dt="2020-02-25T18:54:57.858" v="4626" actId="1036"/>
          <ac:spMkLst>
            <pc:docMk/>
            <pc:sldMk cId="1081358570" sldId="603"/>
            <ac:spMk id="33" creationId="{09C0E520-A9B3-4997-A27D-0B17F6B00BB8}"/>
          </ac:spMkLst>
        </pc:spChg>
        <pc:spChg chg="add mod">
          <ac:chgData name="Daniel Valero" userId="31dd2ff7-9a08-462f-9096-6c487a317220" providerId="ADAL" clId="{13C66EB5-766D-4A69-8EF8-1B215228E3C9}" dt="2020-02-25T18:54:57.858" v="4626" actId="1036"/>
          <ac:spMkLst>
            <pc:docMk/>
            <pc:sldMk cId="1081358570" sldId="603"/>
            <ac:spMk id="34" creationId="{0F51054F-0789-402B-A5ED-4665F356CAFE}"/>
          </ac:spMkLst>
        </pc:spChg>
        <pc:spChg chg="add mod">
          <ac:chgData name="Daniel Valero" userId="31dd2ff7-9a08-462f-9096-6c487a317220" providerId="ADAL" clId="{13C66EB5-766D-4A69-8EF8-1B215228E3C9}" dt="2020-02-25T18:55:05.593" v="4628" actId="14100"/>
          <ac:spMkLst>
            <pc:docMk/>
            <pc:sldMk cId="1081358570" sldId="603"/>
            <ac:spMk id="35" creationId="{E82C582F-9E37-4CA1-87E3-276BF1DE4A34}"/>
          </ac:spMkLst>
        </pc:spChg>
        <pc:picChg chg="add del">
          <ac:chgData name="Daniel Valero" userId="31dd2ff7-9a08-462f-9096-6c487a317220" providerId="ADAL" clId="{13C66EB5-766D-4A69-8EF8-1B215228E3C9}" dt="2020-02-25T18:47:28.585" v="4338" actId="478"/>
          <ac:picMkLst>
            <pc:docMk/>
            <pc:sldMk cId="1081358570" sldId="603"/>
            <ac:picMk id="6" creationId="{EB9EC028-0E75-4F88-8EF9-0C4F4541CB8A}"/>
          </ac:picMkLst>
        </pc:picChg>
        <pc:picChg chg="add mod ord">
          <ac:chgData name="Daniel Valero" userId="31dd2ff7-9a08-462f-9096-6c487a317220" providerId="ADAL" clId="{13C66EB5-766D-4A69-8EF8-1B215228E3C9}" dt="2020-02-25T18:54:57.858" v="4626" actId="1036"/>
          <ac:picMkLst>
            <pc:docMk/>
            <pc:sldMk cId="1081358570" sldId="603"/>
            <ac:picMk id="26" creationId="{729BD118-B9CA-426C-8EFD-5A194B3BCD4B}"/>
          </ac:picMkLst>
        </pc:picChg>
      </pc:sldChg>
      <pc:sldChg chg="addSp delSp modSp add mod modNotesTx">
        <pc:chgData name="Daniel Valero" userId="31dd2ff7-9a08-462f-9096-6c487a317220" providerId="ADAL" clId="{13C66EB5-766D-4A69-8EF8-1B215228E3C9}" dt="2020-02-25T18:56:44.445" v="4645" actId="14100"/>
        <pc:sldMkLst>
          <pc:docMk/>
          <pc:sldMk cId="2735926192" sldId="604"/>
        </pc:sldMkLst>
        <pc:spChg chg="mod">
          <ac:chgData name="Daniel Valero" userId="31dd2ff7-9a08-462f-9096-6c487a317220" providerId="ADAL" clId="{13C66EB5-766D-4A69-8EF8-1B215228E3C9}" dt="2020-02-24T21:19:30.278" v="1066" actId="6549"/>
          <ac:spMkLst>
            <pc:docMk/>
            <pc:sldMk cId="2735926192" sldId="604"/>
            <ac:spMk id="2" creationId="{EB67312A-9819-43C6-8D84-D9136E6CFFCC}"/>
          </ac:spMkLst>
        </pc:spChg>
        <pc:spChg chg="mod">
          <ac:chgData name="Daniel Valero" userId="31dd2ff7-9a08-462f-9096-6c487a317220" providerId="ADAL" clId="{13C66EB5-766D-4A69-8EF8-1B215228E3C9}" dt="2020-02-24T21:23:05.190" v="1135" actId="20577"/>
          <ac:spMkLst>
            <pc:docMk/>
            <pc:sldMk cId="2735926192" sldId="604"/>
            <ac:spMk id="3" creationId="{F35E8CBB-5A7D-4DEF-BAF7-8DD5D042F9E0}"/>
          </ac:spMkLst>
        </pc:spChg>
        <pc:spChg chg="add del mod">
          <ac:chgData name="Daniel Valero" userId="31dd2ff7-9a08-462f-9096-6c487a317220" providerId="ADAL" clId="{13C66EB5-766D-4A69-8EF8-1B215228E3C9}" dt="2020-02-25T18:20:45.265" v="4127" actId="552"/>
          <ac:spMkLst>
            <pc:docMk/>
            <pc:sldMk cId="2735926192" sldId="604"/>
            <ac:spMk id="4" creationId="{F3616A99-090F-45E1-9334-58D58B148205}"/>
          </ac:spMkLst>
        </pc:spChg>
        <pc:spChg chg="add del">
          <ac:chgData name="Daniel Valero" userId="31dd2ff7-9a08-462f-9096-6c487a317220" providerId="ADAL" clId="{13C66EB5-766D-4A69-8EF8-1B215228E3C9}" dt="2020-02-24T21:20:19.896" v="1078"/>
          <ac:spMkLst>
            <pc:docMk/>
            <pc:sldMk cId="2735926192" sldId="604"/>
            <ac:spMk id="5" creationId="{E70DB86F-431B-4D39-945B-1312992CB989}"/>
          </ac:spMkLst>
        </pc:spChg>
        <pc:spChg chg="add mod">
          <ac:chgData name="Daniel Valero" userId="31dd2ff7-9a08-462f-9096-6c487a317220" providerId="ADAL" clId="{13C66EB5-766D-4A69-8EF8-1B215228E3C9}" dt="2020-02-25T18:20:45.265" v="4127" actId="552"/>
          <ac:spMkLst>
            <pc:docMk/>
            <pc:sldMk cId="2735926192" sldId="604"/>
            <ac:spMk id="13" creationId="{5B7DF837-0C24-42B8-928B-750588EBDEC9}"/>
          </ac:spMkLst>
        </pc:spChg>
        <pc:spChg chg="add mod">
          <ac:chgData name="Daniel Valero" userId="31dd2ff7-9a08-462f-9096-6c487a317220" providerId="ADAL" clId="{13C66EB5-766D-4A69-8EF8-1B215228E3C9}" dt="2020-02-25T18:20:45.265" v="4127" actId="552"/>
          <ac:spMkLst>
            <pc:docMk/>
            <pc:sldMk cId="2735926192" sldId="604"/>
            <ac:spMk id="14" creationId="{AC33A00B-92E8-4F4A-A59B-2167D150465F}"/>
          </ac:spMkLst>
        </pc:spChg>
        <pc:spChg chg="add mod">
          <ac:chgData name="Daniel Valero" userId="31dd2ff7-9a08-462f-9096-6c487a317220" providerId="ADAL" clId="{13C66EB5-766D-4A69-8EF8-1B215228E3C9}" dt="2020-02-25T18:20:45.265" v="4127" actId="552"/>
          <ac:spMkLst>
            <pc:docMk/>
            <pc:sldMk cId="2735926192" sldId="604"/>
            <ac:spMk id="15" creationId="{F6B21E68-22ED-42CE-A607-124E6FC9E037}"/>
          </ac:spMkLst>
        </pc:spChg>
        <pc:spChg chg="add mod">
          <ac:chgData name="Daniel Valero" userId="31dd2ff7-9a08-462f-9096-6c487a317220" providerId="ADAL" clId="{13C66EB5-766D-4A69-8EF8-1B215228E3C9}" dt="2020-02-25T18:20:45.265" v="4127" actId="552"/>
          <ac:spMkLst>
            <pc:docMk/>
            <pc:sldMk cId="2735926192" sldId="604"/>
            <ac:spMk id="16" creationId="{EB1BF4A3-52C8-480D-8FED-F6FF4CAC78E8}"/>
          </ac:spMkLst>
        </pc:spChg>
        <pc:spChg chg="add mod">
          <ac:chgData name="Daniel Valero" userId="31dd2ff7-9a08-462f-9096-6c487a317220" providerId="ADAL" clId="{13C66EB5-766D-4A69-8EF8-1B215228E3C9}" dt="2020-02-25T18:21:48.936" v="4139" actId="1038"/>
          <ac:spMkLst>
            <pc:docMk/>
            <pc:sldMk cId="2735926192" sldId="604"/>
            <ac:spMk id="17" creationId="{7FFB5D7E-C651-4E65-A76B-C48470F09858}"/>
          </ac:spMkLst>
        </pc:spChg>
        <pc:spChg chg="add mod">
          <ac:chgData name="Daniel Valero" userId="31dd2ff7-9a08-462f-9096-6c487a317220" providerId="ADAL" clId="{13C66EB5-766D-4A69-8EF8-1B215228E3C9}" dt="2020-02-25T18:21:48.936" v="4139" actId="1038"/>
          <ac:spMkLst>
            <pc:docMk/>
            <pc:sldMk cId="2735926192" sldId="604"/>
            <ac:spMk id="18" creationId="{B04BB3DC-29AA-456A-AB33-D415DFC9D159}"/>
          </ac:spMkLst>
        </pc:spChg>
        <pc:spChg chg="add mod">
          <ac:chgData name="Daniel Valero" userId="31dd2ff7-9a08-462f-9096-6c487a317220" providerId="ADAL" clId="{13C66EB5-766D-4A69-8EF8-1B215228E3C9}" dt="2020-02-25T18:20:45.265" v="4127" actId="552"/>
          <ac:spMkLst>
            <pc:docMk/>
            <pc:sldMk cId="2735926192" sldId="604"/>
            <ac:spMk id="20" creationId="{C321B790-A42B-4615-8886-FB1C9171170D}"/>
          </ac:spMkLst>
        </pc:spChg>
        <pc:spChg chg="add mod">
          <ac:chgData name="Daniel Valero" userId="31dd2ff7-9a08-462f-9096-6c487a317220" providerId="ADAL" clId="{13C66EB5-766D-4A69-8EF8-1B215228E3C9}" dt="2020-02-25T18:21:48.936" v="4139" actId="1038"/>
          <ac:spMkLst>
            <pc:docMk/>
            <pc:sldMk cId="2735926192" sldId="604"/>
            <ac:spMk id="22" creationId="{64A2DB2D-2637-4A54-9C7F-F159894633E7}"/>
          </ac:spMkLst>
        </pc:spChg>
        <pc:spChg chg="add del">
          <ac:chgData name="Daniel Valero" userId="31dd2ff7-9a08-462f-9096-6c487a317220" providerId="ADAL" clId="{13C66EB5-766D-4A69-8EF8-1B215228E3C9}" dt="2020-02-24T21:19:16.190" v="1036" actId="478"/>
          <ac:spMkLst>
            <pc:docMk/>
            <pc:sldMk cId="2735926192" sldId="604"/>
            <ac:spMk id="23" creationId="{C9D7748A-3B30-402D-89FC-CF1E8760CC80}"/>
          </ac:spMkLst>
        </pc:spChg>
        <pc:spChg chg="add del">
          <ac:chgData name="Daniel Valero" userId="31dd2ff7-9a08-462f-9096-6c487a317220" providerId="ADAL" clId="{13C66EB5-766D-4A69-8EF8-1B215228E3C9}" dt="2020-02-24T21:19:59.419" v="1070"/>
          <ac:spMkLst>
            <pc:docMk/>
            <pc:sldMk cId="2735926192" sldId="604"/>
            <ac:spMk id="24" creationId="{5E628841-751D-4B85-98DA-E400B80911F7}"/>
          </ac:spMkLst>
        </pc:spChg>
        <pc:spChg chg="add mod">
          <ac:chgData name="Daniel Valero" userId="31dd2ff7-9a08-462f-9096-6c487a317220" providerId="ADAL" clId="{13C66EB5-766D-4A69-8EF8-1B215228E3C9}" dt="2020-02-25T18:56:44.445" v="4645" actId="14100"/>
          <ac:spMkLst>
            <pc:docMk/>
            <pc:sldMk cId="2735926192" sldId="604"/>
            <ac:spMk id="25" creationId="{A0CA769B-4521-40FE-9E23-E3CEDE217E0A}"/>
          </ac:spMkLst>
        </pc:spChg>
        <pc:spChg chg="add mod">
          <ac:chgData name="Daniel Valero" userId="31dd2ff7-9a08-462f-9096-6c487a317220" providerId="ADAL" clId="{13C66EB5-766D-4A69-8EF8-1B215228E3C9}" dt="2020-02-25T18:21:48.936" v="4139" actId="1038"/>
          <ac:spMkLst>
            <pc:docMk/>
            <pc:sldMk cId="2735926192" sldId="604"/>
            <ac:spMk id="31" creationId="{97CF827F-3129-4966-941B-B55A2806656C}"/>
          </ac:spMkLst>
        </pc:spChg>
        <pc:spChg chg="add mod">
          <ac:chgData name="Daniel Valero" userId="31dd2ff7-9a08-462f-9096-6c487a317220" providerId="ADAL" clId="{13C66EB5-766D-4A69-8EF8-1B215228E3C9}" dt="2020-02-25T18:21:48.936" v="4139" actId="1038"/>
          <ac:spMkLst>
            <pc:docMk/>
            <pc:sldMk cId="2735926192" sldId="604"/>
            <ac:spMk id="32" creationId="{D86B479E-C635-4BC1-A62C-461B394A5888}"/>
          </ac:spMkLst>
        </pc:spChg>
        <pc:spChg chg="add mod">
          <ac:chgData name="Daniel Valero" userId="31dd2ff7-9a08-462f-9096-6c487a317220" providerId="ADAL" clId="{13C66EB5-766D-4A69-8EF8-1B215228E3C9}" dt="2020-02-25T18:21:48.936" v="4139" actId="1038"/>
          <ac:spMkLst>
            <pc:docMk/>
            <pc:sldMk cId="2735926192" sldId="604"/>
            <ac:spMk id="33" creationId="{0DAC354D-F668-4AD1-BB17-9233443A4DC2}"/>
          </ac:spMkLst>
        </pc:spChg>
        <pc:picChg chg="add mod">
          <ac:chgData name="Daniel Valero" userId="31dd2ff7-9a08-462f-9096-6c487a317220" providerId="ADAL" clId="{13C66EB5-766D-4A69-8EF8-1B215228E3C9}" dt="2020-02-25T18:21:12.671" v="4131" actId="465"/>
          <ac:picMkLst>
            <pc:docMk/>
            <pc:sldMk cId="2735926192" sldId="604"/>
            <ac:picMk id="27" creationId="{40BDF551-8402-419C-AED0-07EA668E260D}"/>
          </ac:picMkLst>
        </pc:picChg>
        <pc:picChg chg="add mod">
          <ac:chgData name="Daniel Valero" userId="31dd2ff7-9a08-462f-9096-6c487a317220" providerId="ADAL" clId="{13C66EB5-766D-4A69-8EF8-1B215228E3C9}" dt="2020-02-25T18:21:12.671" v="4131" actId="465"/>
          <ac:picMkLst>
            <pc:docMk/>
            <pc:sldMk cId="2735926192" sldId="604"/>
            <ac:picMk id="28" creationId="{E3E71F0F-1328-4B9B-B339-5F62F7307EE0}"/>
          </ac:picMkLst>
        </pc:picChg>
        <pc:picChg chg="add mod">
          <ac:chgData name="Daniel Valero" userId="31dd2ff7-9a08-462f-9096-6c487a317220" providerId="ADAL" clId="{13C66EB5-766D-4A69-8EF8-1B215228E3C9}" dt="2020-02-25T18:21:12.671" v="4131" actId="465"/>
          <ac:picMkLst>
            <pc:docMk/>
            <pc:sldMk cId="2735926192" sldId="604"/>
            <ac:picMk id="29" creationId="{78457F7F-6403-4D74-B33C-984EBB69A751}"/>
          </ac:picMkLst>
        </pc:picChg>
        <pc:picChg chg="add del mod">
          <ac:chgData name="Daniel Valero" userId="31dd2ff7-9a08-462f-9096-6c487a317220" providerId="ADAL" clId="{13C66EB5-766D-4A69-8EF8-1B215228E3C9}" dt="2020-02-25T18:18:46.886" v="4083" actId="478"/>
          <ac:picMkLst>
            <pc:docMk/>
            <pc:sldMk cId="2735926192" sldId="604"/>
            <ac:picMk id="30" creationId="{343ED5D6-D1FF-4021-BECD-2371DAA45277}"/>
          </ac:picMkLst>
        </pc:picChg>
        <pc:picChg chg="add del mod">
          <ac:chgData name="Daniel Valero" userId="31dd2ff7-9a08-462f-9096-6c487a317220" providerId="ADAL" clId="{13C66EB5-766D-4A69-8EF8-1B215228E3C9}" dt="2020-02-24T21:07:57.751" v="793"/>
          <ac:picMkLst>
            <pc:docMk/>
            <pc:sldMk cId="2735926192" sldId="604"/>
            <ac:picMk id="1026" creationId="{AEC7E918-208C-445B-82F7-59B9C23552EB}"/>
          </ac:picMkLst>
        </pc:picChg>
        <pc:picChg chg="add mod">
          <ac:chgData name="Daniel Valero" userId="31dd2ff7-9a08-462f-9096-6c487a317220" providerId="ADAL" clId="{13C66EB5-766D-4A69-8EF8-1B215228E3C9}" dt="2020-02-25T18:19:58.182" v="4118" actId="465"/>
          <ac:picMkLst>
            <pc:docMk/>
            <pc:sldMk cId="2735926192" sldId="604"/>
            <ac:picMk id="1028" creationId="{11D2FFA8-8159-4269-AABB-26626E73E9B9}"/>
          </ac:picMkLst>
        </pc:picChg>
        <pc:picChg chg="add mod">
          <ac:chgData name="Daniel Valero" userId="31dd2ff7-9a08-462f-9096-6c487a317220" providerId="ADAL" clId="{13C66EB5-766D-4A69-8EF8-1B215228E3C9}" dt="2020-02-25T18:19:58.182" v="4118" actId="465"/>
          <ac:picMkLst>
            <pc:docMk/>
            <pc:sldMk cId="2735926192" sldId="604"/>
            <ac:picMk id="1030" creationId="{04594F46-8518-4FF4-B53B-6C810780F989}"/>
          </ac:picMkLst>
        </pc:picChg>
        <pc:picChg chg="add mod">
          <ac:chgData name="Daniel Valero" userId="31dd2ff7-9a08-462f-9096-6c487a317220" providerId="ADAL" clId="{13C66EB5-766D-4A69-8EF8-1B215228E3C9}" dt="2020-02-25T18:19:58.182" v="4118" actId="465"/>
          <ac:picMkLst>
            <pc:docMk/>
            <pc:sldMk cId="2735926192" sldId="604"/>
            <ac:picMk id="1032" creationId="{F14E48FE-3B7E-41F9-A032-9F3CCB6F2ABB}"/>
          </ac:picMkLst>
        </pc:picChg>
        <pc:picChg chg="add mod">
          <ac:chgData name="Daniel Valero" userId="31dd2ff7-9a08-462f-9096-6c487a317220" providerId="ADAL" clId="{13C66EB5-766D-4A69-8EF8-1B215228E3C9}" dt="2020-02-25T18:19:58.182" v="4118" actId="465"/>
          <ac:picMkLst>
            <pc:docMk/>
            <pc:sldMk cId="2735926192" sldId="604"/>
            <ac:picMk id="1034" creationId="{3E5C0A35-5AF5-4C72-B87A-845C0D7820C8}"/>
          </ac:picMkLst>
        </pc:picChg>
        <pc:picChg chg="add mod">
          <ac:chgData name="Daniel Valero" userId="31dd2ff7-9a08-462f-9096-6c487a317220" providerId="ADAL" clId="{13C66EB5-766D-4A69-8EF8-1B215228E3C9}" dt="2020-02-25T18:19:58.182" v="4118" actId="465"/>
          <ac:picMkLst>
            <pc:docMk/>
            <pc:sldMk cId="2735926192" sldId="604"/>
            <ac:picMk id="1036" creationId="{A33C7D66-DC83-4F8A-A617-968722957AF5}"/>
          </ac:picMkLst>
        </pc:picChg>
        <pc:picChg chg="add mod">
          <ac:chgData name="Daniel Valero" userId="31dd2ff7-9a08-462f-9096-6c487a317220" providerId="ADAL" clId="{13C66EB5-766D-4A69-8EF8-1B215228E3C9}" dt="2020-02-25T18:21:12.671" v="4131" actId="465"/>
          <ac:picMkLst>
            <pc:docMk/>
            <pc:sldMk cId="2735926192" sldId="604"/>
            <ac:picMk id="1038" creationId="{5C5E6286-5839-4D81-940B-CB68A66B6595}"/>
          </ac:picMkLst>
        </pc:picChg>
        <pc:picChg chg="add mod">
          <ac:chgData name="Daniel Valero" userId="31dd2ff7-9a08-462f-9096-6c487a317220" providerId="ADAL" clId="{13C66EB5-766D-4A69-8EF8-1B215228E3C9}" dt="2020-02-25T18:21:12.671" v="4131" actId="465"/>
          <ac:picMkLst>
            <pc:docMk/>
            <pc:sldMk cId="2735926192" sldId="604"/>
            <ac:picMk id="1040" creationId="{55E7F75A-ED40-422A-977C-74663B0616D8}"/>
          </ac:picMkLst>
        </pc:picChg>
        <pc:picChg chg="add mod">
          <ac:chgData name="Daniel Valero" userId="31dd2ff7-9a08-462f-9096-6c487a317220" providerId="ADAL" clId="{13C66EB5-766D-4A69-8EF8-1B215228E3C9}" dt="2020-02-25T18:19:58.182" v="4118" actId="465"/>
          <ac:picMkLst>
            <pc:docMk/>
            <pc:sldMk cId="2735926192" sldId="604"/>
            <ac:picMk id="1042" creationId="{A0B91962-D37F-450E-83EC-BEE4BF8D06B6}"/>
          </ac:picMkLst>
        </pc:picChg>
        <pc:picChg chg="add mod">
          <ac:chgData name="Daniel Valero" userId="31dd2ff7-9a08-462f-9096-6c487a317220" providerId="ADAL" clId="{13C66EB5-766D-4A69-8EF8-1B215228E3C9}" dt="2020-02-25T18:21:12.671" v="4131" actId="465"/>
          <ac:picMkLst>
            <pc:docMk/>
            <pc:sldMk cId="2735926192" sldId="604"/>
            <ac:picMk id="1044" creationId="{2F608A90-F0A6-48F7-9B94-BDEB28F2AD01}"/>
          </ac:picMkLst>
        </pc:picChg>
      </pc:sldChg>
      <pc:sldChg chg="addSp delSp modSp add mod modNotesTx">
        <pc:chgData name="Daniel Valero" userId="31dd2ff7-9a08-462f-9096-6c487a317220" providerId="ADAL" clId="{13C66EB5-766D-4A69-8EF8-1B215228E3C9}" dt="2020-02-25T18:45:32.659" v="4335" actId="12"/>
        <pc:sldMkLst>
          <pc:docMk/>
          <pc:sldMk cId="451523490" sldId="605"/>
        </pc:sldMkLst>
        <pc:spChg chg="mod">
          <ac:chgData name="Daniel Valero" userId="31dd2ff7-9a08-462f-9096-6c487a317220" providerId="ADAL" clId="{13C66EB5-766D-4A69-8EF8-1B215228E3C9}" dt="2020-02-24T22:33:35.927" v="1405" actId="790"/>
          <ac:spMkLst>
            <pc:docMk/>
            <pc:sldMk cId="451523490" sldId="605"/>
            <ac:spMk id="2" creationId="{EB67312A-9819-43C6-8D84-D9136E6CFFCC}"/>
          </ac:spMkLst>
        </pc:spChg>
        <pc:spChg chg="mod">
          <ac:chgData name="Daniel Valero" userId="31dd2ff7-9a08-462f-9096-6c487a317220" providerId="ADAL" clId="{13C66EB5-766D-4A69-8EF8-1B215228E3C9}" dt="2020-02-24T22:34:26.682" v="1418" actId="20577"/>
          <ac:spMkLst>
            <pc:docMk/>
            <pc:sldMk cId="451523490" sldId="605"/>
            <ac:spMk id="3" creationId="{F35E8CBB-5A7D-4DEF-BAF7-8DD5D042F9E0}"/>
          </ac:spMkLst>
        </pc:spChg>
        <pc:spChg chg="mod">
          <ac:chgData name="Daniel Valero" userId="31dd2ff7-9a08-462f-9096-6c487a317220" providerId="ADAL" clId="{13C66EB5-766D-4A69-8EF8-1B215228E3C9}" dt="2020-02-25T18:45:32.659" v="4335" actId="12"/>
          <ac:spMkLst>
            <pc:docMk/>
            <pc:sldMk cId="451523490" sldId="605"/>
            <ac:spMk id="4" creationId="{F3616A99-090F-45E1-9334-58D58B148205}"/>
          </ac:spMkLst>
        </pc:spChg>
        <pc:spChg chg="add del mod">
          <ac:chgData name="Daniel Valero" userId="31dd2ff7-9a08-462f-9096-6c487a317220" providerId="ADAL" clId="{13C66EB5-766D-4A69-8EF8-1B215228E3C9}" dt="2020-02-24T22:38:15.418" v="1450" actId="478"/>
          <ac:spMkLst>
            <pc:docMk/>
            <pc:sldMk cId="451523490" sldId="605"/>
            <ac:spMk id="5" creationId="{003D2DDE-6F50-4F92-9EAA-FEF33D9668A9}"/>
          </ac:spMkLst>
        </pc:spChg>
        <pc:spChg chg="add del">
          <ac:chgData name="Daniel Valero" userId="31dd2ff7-9a08-462f-9096-6c487a317220" providerId="ADAL" clId="{13C66EB5-766D-4A69-8EF8-1B215228E3C9}" dt="2020-02-24T22:37:51.855" v="1440"/>
          <ac:spMkLst>
            <pc:docMk/>
            <pc:sldMk cId="451523490" sldId="605"/>
            <ac:spMk id="7" creationId="{499F44B9-6935-4FAB-9D7F-86B07C48FFA0}"/>
          </ac:spMkLst>
        </pc:spChg>
        <pc:spChg chg="add mod">
          <ac:chgData name="Daniel Valero" userId="31dd2ff7-9a08-462f-9096-6c487a317220" providerId="ADAL" clId="{13C66EB5-766D-4A69-8EF8-1B215228E3C9}" dt="2020-02-24T22:46:32.843" v="1472" actId="1076"/>
          <ac:spMkLst>
            <pc:docMk/>
            <pc:sldMk cId="451523490" sldId="605"/>
            <ac:spMk id="9" creationId="{5CF14BD0-AFDA-488D-BF1F-B83A8143DA2F}"/>
          </ac:spMkLst>
        </pc:spChg>
        <pc:picChg chg="add del mod">
          <ac:chgData name="Daniel Valero" userId="31dd2ff7-9a08-462f-9096-6c487a317220" providerId="ADAL" clId="{13C66EB5-766D-4A69-8EF8-1B215228E3C9}" dt="2020-02-24T22:38:16.873" v="1451" actId="478"/>
          <ac:picMkLst>
            <pc:docMk/>
            <pc:sldMk cId="451523490" sldId="605"/>
            <ac:picMk id="6" creationId="{DC6DBBD2-9C12-49C3-8471-FCE8F8932E96}"/>
          </ac:picMkLst>
        </pc:picChg>
        <pc:picChg chg="add del">
          <ac:chgData name="Daniel Valero" userId="31dd2ff7-9a08-462f-9096-6c487a317220" providerId="ADAL" clId="{13C66EB5-766D-4A69-8EF8-1B215228E3C9}" dt="2020-02-24T22:37:51.855" v="1440"/>
          <ac:picMkLst>
            <pc:docMk/>
            <pc:sldMk cId="451523490" sldId="605"/>
            <ac:picMk id="8" creationId="{07BF504B-C182-4F21-BDD7-2BAE0E5305EA}"/>
          </ac:picMkLst>
        </pc:picChg>
        <pc:picChg chg="add mod">
          <ac:chgData name="Daniel Valero" userId="31dd2ff7-9a08-462f-9096-6c487a317220" providerId="ADAL" clId="{13C66EB5-766D-4A69-8EF8-1B215228E3C9}" dt="2020-02-24T23:00:30.912" v="1809" actId="1076"/>
          <ac:picMkLst>
            <pc:docMk/>
            <pc:sldMk cId="451523490" sldId="605"/>
            <ac:picMk id="10" creationId="{7E8B0F86-A58C-4432-9091-BD95C14037FE}"/>
          </ac:picMkLst>
        </pc:picChg>
      </pc:sldChg>
      <pc:sldChg chg="addSp delSp modSp add mod">
        <pc:chgData name="Daniel Valero" userId="31dd2ff7-9a08-462f-9096-6c487a317220" providerId="ADAL" clId="{13C66EB5-766D-4A69-8EF8-1B215228E3C9}" dt="2020-02-24T22:59:04.872" v="1786" actId="1076"/>
        <pc:sldMkLst>
          <pc:docMk/>
          <pc:sldMk cId="153781307" sldId="606"/>
        </pc:sldMkLst>
        <pc:spChg chg="mod">
          <ac:chgData name="Daniel Valero" userId="31dd2ff7-9a08-462f-9096-6c487a317220" providerId="ADAL" clId="{13C66EB5-766D-4A69-8EF8-1B215228E3C9}" dt="2020-02-24T22:50:29.946" v="1609"/>
          <ac:spMkLst>
            <pc:docMk/>
            <pc:sldMk cId="153781307" sldId="606"/>
            <ac:spMk id="2" creationId="{EB67312A-9819-43C6-8D84-D9136E6CFFCC}"/>
          </ac:spMkLst>
        </pc:spChg>
        <pc:spChg chg="mod">
          <ac:chgData name="Daniel Valero" userId="31dd2ff7-9a08-462f-9096-6c487a317220" providerId="ADAL" clId="{13C66EB5-766D-4A69-8EF8-1B215228E3C9}" dt="2020-02-24T22:50:40.584" v="1619" actId="20577"/>
          <ac:spMkLst>
            <pc:docMk/>
            <pc:sldMk cId="153781307" sldId="606"/>
            <ac:spMk id="3" creationId="{F35E8CBB-5A7D-4DEF-BAF7-8DD5D042F9E0}"/>
          </ac:spMkLst>
        </pc:spChg>
        <pc:spChg chg="del">
          <ac:chgData name="Daniel Valero" userId="31dd2ff7-9a08-462f-9096-6c487a317220" providerId="ADAL" clId="{13C66EB5-766D-4A69-8EF8-1B215228E3C9}" dt="2020-02-24T22:50:09.651" v="1607" actId="478"/>
          <ac:spMkLst>
            <pc:docMk/>
            <pc:sldMk cId="153781307" sldId="606"/>
            <ac:spMk id="4" creationId="{F3616A99-090F-45E1-9334-58D58B148205}"/>
          </ac:spMkLst>
        </pc:spChg>
        <pc:spChg chg="add del">
          <ac:chgData name="Daniel Valero" userId="31dd2ff7-9a08-462f-9096-6c487a317220" providerId="ADAL" clId="{13C66EB5-766D-4A69-8EF8-1B215228E3C9}" dt="2020-02-24T22:25:14.370" v="1272"/>
          <ac:spMkLst>
            <pc:docMk/>
            <pc:sldMk cId="153781307" sldId="606"/>
            <ac:spMk id="5" creationId="{FFDD80B7-E577-4097-8C5C-40F7C6153C75}"/>
          </ac:spMkLst>
        </pc:spChg>
        <pc:spChg chg="add del">
          <ac:chgData name="Daniel Valero" userId="31dd2ff7-9a08-462f-9096-6c487a317220" providerId="ADAL" clId="{13C66EB5-766D-4A69-8EF8-1B215228E3C9}" dt="2020-02-24T22:25:14.195" v="1271"/>
          <ac:spMkLst>
            <pc:docMk/>
            <pc:sldMk cId="153781307" sldId="606"/>
            <ac:spMk id="6" creationId="{8EAA43D5-9A0D-4B7F-9C00-B4D8CEDE3957}"/>
          </ac:spMkLst>
        </pc:spChg>
        <pc:spChg chg="add del">
          <ac:chgData name="Daniel Valero" userId="31dd2ff7-9a08-462f-9096-6c487a317220" providerId="ADAL" clId="{13C66EB5-766D-4A69-8EF8-1B215228E3C9}" dt="2020-02-24T22:50:07.074" v="1606"/>
          <ac:spMkLst>
            <pc:docMk/>
            <pc:sldMk cId="153781307" sldId="606"/>
            <ac:spMk id="7" creationId="{4A4149E3-EFF9-4A57-8655-A06E742392D1}"/>
          </ac:spMkLst>
        </pc:spChg>
        <pc:spChg chg="add mod">
          <ac:chgData name="Daniel Valero" userId="31dd2ff7-9a08-462f-9096-6c487a317220" providerId="ADAL" clId="{13C66EB5-766D-4A69-8EF8-1B215228E3C9}" dt="2020-02-24T22:58:43.479" v="1785" actId="14100"/>
          <ac:spMkLst>
            <pc:docMk/>
            <pc:sldMk cId="153781307" sldId="606"/>
            <ac:spMk id="9" creationId="{25A13D8C-4768-4CCE-921B-B47AB6C2A439}"/>
          </ac:spMkLst>
        </pc:spChg>
        <pc:picChg chg="add del">
          <ac:chgData name="Daniel Valero" userId="31dd2ff7-9a08-462f-9096-6c487a317220" providerId="ADAL" clId="{13C66EB5-766D-4A69-8EF8-1B215228E3C9}" dt="2020-02-24T22:50:07.074" v="1606"/>
          <ac:picMkLst>
            <pc:docMk/>
            <pc:sldMk cId="153781307" sldId="606"/>
            <ac:picMk id="8" creationId="{5556A876-8F23-4C7F-9539-7AA66917E992}"/>
          </ac:picMkLst>
        </pc:picChg>
        <pc:picChg chg="add mod">
          <ac:chgData name="Daniel Valero" userId="31dd2ff7-9a08-462f-9096-6c487a317220" providerId="ADAL" clId="{13C66EB5-766D-4A69-8EF8-1B215228E3C9}" dt="2020-02-24T22:59:04.872" v="1786" actId="1076"/>
          <ac:picMkLst>
            <pc:docMk/>
            <pc:sldMk cId="153781307" sldId="606"/>
            <ac:picMk id="10" creationId="{595F1D0A-3C3D-4001-A71C-131780BF97FC}"/>
          </ac:picMkLst>
        </pc:picChg>
      </pc:sldChg>
      <pc:sldChg chg="addSp delSp modSp add mod">
        <pc:chgData name="Daniel Valero" userId="31dd2ff7-9a08-462f-9096-6c487a317220" providerId="ADAL" clId="{13C66EB5-766D-4A69-8EF8-1B215228E3C9}" dt="2020-02-25T18:15:32.140" v="4059" actId="14100"/>
        <pc:sldMkLst>
          <pc:docMk/>
          <pc:sldMk cId="110240023" sldId="607"/>
        </pc:sldMkLst>
        <pc:spChg chg="mod">
          <ac:chgData name="Daniel Valero" userId="31dd2ff7-9a08-462f-9096-6c487a317220" providerId="ADAL" clId="{13C66EB5-766D-4A69-8EF8-1B215228E3C9}" dt="2020-02-24T21:03:18.839" v="780" actId="20577"/>
          <ac:spMkLst>
            <pc:docMk/>
            <pc:sldMk cId="110240023" sldId="607"/>
            <ac:spMk id="2" creationId="{EB67312A-9819-43C6-8D84-D9136E6CFFCC}"/>
          </ac:spMkLst>
        </pc:spChg>
        <pc:spChg chg="mod">
          <ac:chgData name="Daniel Valero" userId="31dd2ff7-9a08-462f-9096-6c487a317220" providerId="ADAL" clId="{13C66EB5-766D-4A69-8EF8-1B215228E3C9}" dt="2020-02-25T18:02:03.529" v="3554" actId="20577"/>
          <ac:spMkLst>
            <pc:docMk/>
            <pc:sldMk cId="110240023" sldId="607"/>
            <ac:spMk id="3" creationId="{F35E8CBB-5A7D-4DEF-BAF7-8DD5D042F9E0}"/>
          </ac:spMkLst>
        </pc:spChg>
        <pc:spChg chg="del mod">
          <ac:chgData name="Daniel Valero" userId="31dd2ff7-9a08-462f-9096-6c487a317220" providerId="ADAL" clId="{13C66EB5-766D-4A69-8EF8-1B215228E3C9}" dt="2020-02-25T17:56:28.511" v="3414" actId="3680"/>
          <ac:spMkLst>
            <pc:docMk/>
            <pc:sldMk cId="110240023" sldId="607"/>
            <ac:spMk id="4" creationId="{F3616A99-090F-45E1-9334-58D58B148205}"/>
          </ac:spMkLst>
        </pc:spChg>
        <pc:spChg chg="add del">
          <ac:chgData name="Daniel Valero" userId="31dd2ff7-9a08-462f-9096-6c487a317220" providerId="ADAL" clId="{13C66EB5-766D-4A69-8EF8-1B215228E3C9}" dt="2020-02-25T18:03:17.558" v="3593"/>
          <ac:spMkLst>
            <pc:docMk/>
            <pc:sldMk cId="110240023" sldId="607"/>
            <ac:spMk id="7" creationId="{AC5CE0BC-EA29-4C7C-98F7-60F7A3E5FFBC}"/>
          </ac:spMkLst>
        </pc:spChg>
        <pc:spChg chg="add mod">
          <ac:chgData name="Daniel Valero" userId="31dd2ff7-9a08-462f-9096-6c487a317220" providerId="ADAL" clId="{13C66EB5-766D-4A69-8EF8-1B215228E3C9}" dt="2020-02-25T18:15:32.140" v="4059" actId="14100"/>
          <ac:spMkLst>
            <pc:docMk/>
            <pc:sldMk cId="110240023" sldId="607"/>
            <ac:spMk id="8" creationId="{05ADF702-00A6-423F-9E00-50860C2E98AC}"/>
          </ac:spMkLst>
        </pc:spChg>
        <pc:graphicFrameChg chg="add mod ord modGraphic">
          <ac:chgData name="Daniel Valero" userId="31dd2ff7-9a08-462f-9096-6c487a317220" providerId="ADAL" clId="{13C66EB5-766D-4A69-8EF8-1B215228E3C9}" dt="2020-02-25T18:02:37.147" v="3591" actId="20577"/>
          <ac:graphicFrameMkLst>
            <pc:docMk/>
            <pc:sldMk cId="110240023" sldId="607"/>
            <ac:graphicFrameMk id="5" creationId="{8F820CDF-BD1D-4AD1-BE1D-7130A022C764}"/>
          </ac:graphicFrameMkLst>
        </pc:graphicFrameChg>
      </pc:sldChg>
      <pc:sldChg chg="addSp delSp modSp add mod modNotesTx">
        <pc:chgData name="Daniel Valero" userId="31dd2ff7-9a08-462f-9096-6c487a317220" providerId="ADAL" clId="{13C66EB5-766D-4A69-8EF8-1B215228E3C9}" dt="2020-02-25T20:40:07.971" v="5342" actId="1076"/>
        <pc:sldMkLst>
          <pc:docMk/>
          <pc:sldMk cId="2357444012" sldId="608"/>
        </pc:sldMkLst>
        <pc:spChg chg="mod">
          <ac:chgData name="Daniel Valero" userId="31dd2ff7-9a08-462f-9096-6c487a317220" providerId="ADAL" clId="{13C66EB5-766D-4A69-8EF8-1B215228E3C9}" dt="2020-02-24T21:59:24.406" v="1199" actId="20577"/>
          <ac:spMkLst>
            <pc:docMk/>
            <pc:sldMk cId="2357444012" sldId="608"/>
            <ac:spMk id="3" creationId="{F35E8CBB-5A7D-4DEF-BAF7-8DD5D042F9E0}"/>
          </ac:spMkLst>
        </pc:spChg>
        <pc:spChg chg="del">
          <ac:chgData name="Daniel Valero" userId="31dd2ff7-9a08-462f-9096-6c487a317220" providerId="ADAL" clId="{13C66EB5-766D-4A69-8EF8-1B215228E3C9}" dt="2020-02-24T21:59:01.065" v="1184" actId="478"/>
          <ac:spMkLst>
            <pc:docMk/>
            <pc:sldMk cId="2357444012" sldId="608"/>
            <ac:spMk id="4" creationId="{F3616A99-090F-45E1-9334-58D58B148205}"/>
          </ac:spMkLst>
        </pc:spChg>
        <pc:spChg chg="add del mod ord">
          <ac:chgData name="Daniel Valero" userId="31dd2ff7-9a08-462f-9096-6c487a317220" providerId="ADAL" clId="{13C66EB5-766D-4A69-8EF8-1B215228E3C9}" dt="2020-02-25T19:09:22.200" v="4932" actId="20577"/>
          <ac:spMkLst>
            <pc:docMk/>
            <pc:sldMk cId="2357444012" sldId="608"/>
            <ac:spMk id="6" creationId="{E4D47C1F-4545-4C5A-8C3A-8AC7D75E3158}"/>
          </ac:spMkLst>
        </pc:spChg>
        <pc:spChg chg="add del">
          <ac:chgData name="Daniel Valero" userId="31dd2ff7-9a08-462f-9096-6c487a317220" providerId="ADAL" clId="{13C66EB5-766D-4A69-8EF8-1B215228E3C9}" dt="2020-02-24T22:25:03.991" v="1268" actId="478"/>
          <ac:spMkLst>
            <pc:docMk/>
            <pc:sldMk cId="2357444012" sldId="608"/>
            <ac:spMk id="8" creationId="{259E6ED3-C220-4142-8FA1-311127C5C59D}"/>
          </ac:spMkLst>
        </pc:spChg>
        <pc:spChg chg="add mod">
          <ac:chgData name="Daniel Valero" userId="31dd2ff7-9a08-462f-9096-6c487a317220" providerId="ADAL" clId="{13C66EB5-766D-4A69-8EF8-1B215228E3C9}" dt="2020-02-24T22:31:58.992" v="1359" actId="1076"/>
          <ac:spMkLst>
            <pc:docMk/>
            <pc:sldMk cId="2357444012" sldId="608"/>
            <ac:spMk id="12" creationId="{336BEA86-6CFD-4CC9-AC11-CA6128F5DDE5}"/>
          </ac:spMkLst>
        </pc:spChg>
        <pc:spChg chg="del mod">
          <ac:chgData name="Daniel Valero" userId="31dd2ff7-9a08-462f-9096-6c487a317220" providerId="ADAL" clId="{13C66EB5-766D-4A69-8EF8-1B215228E3C9}" dt="2020-02-24T21:59:13.594" v="1188" actId="478"/>
          <ac:spMkLst>
            <pc:docMk/>
            <pc:sldMk cId="2357444012" sldId="608"/>
            <ac:spMk id="13" creationId="{5B7DF837-0C24-42B8-928B-750588EBDEC9}"/>
          </ac:spMkLst>
        </pc:spChg>
        <pc:spChg chg="del">
          <ac:chgData name="Daniel Valero" userId="31dd2ff7-9a08-462f-9096-6c487a317220" providerId="ADAL" clId="{13C66EB5-766D-4A69-8EF8-1B215228E3C9}" dt="2020-02-24T21:56:18.762" v="1172" actId="478"/>
          <ac:spMkLst>
            <pc:docMk/>
            <pc:sldMk cId="2357444012" sldId="608"/>
            <ac:spMk id="14" creationId="{AC33A00B-92E8-4F4A-A59B-2167D150465F}"/>
          </ac:spMkLst>
        </pc:spChg>
        <pc:spChg chg="del">
          <ac:chgData name="Daniel Valero" userId="31dd2ff7-9a08-462f-9096-6c487a317220" providerId="ADAL" clId="{13C66EB5-766D-4A69-8EF8-1B215228E3C9}" dt="2020-02-24T21:56:20.952" v="1174" actId="478"/>
          <ac:spMkLst>
            <pc:docMk/>
            <pc:sldMk cId="2357444012" sldId="608"/>
            <ac:spMk id="15" creationId="{F6B21E68-22ED-42CE-A607-124E6FC9E037}"/>
          </ac:spMkLst>
        </pc:spChg>
        <pc:spChg chg="del mod">
          <ac:chgData name="Daniel Valero" userId="31dd2ff7-9a08-462f-9096-6c487a317220" providerId="ADAL" clId="{13C66EB5-766D-4A69-8EF8-1B215228E3C9}" dt="2020-02-24T21:56:20.952" v="1174" actId="478"/>
          <ac:spMkLst>
            <pc:docMk/>
            <pc:sldMk cId="2357444012" sldId="608"/>
            <ac:spMk id="16" creationId="{EB1BF4A3-52C8-480D-8FED-F6FF4CAC78E8}"/>
          </ac:spMkLst>
        </pc:spChg>
        <pc:spChg chg="del mod">
          <ac:chgData name="Daniel Valero" userId="31dd2ff7-9a08-462f-9096-6c487a317220" providerId="ADAL" clId="{13C66EB5-766D-4A69-8EF8-1B215228E3C9}" dt="2020-02-24T21:56:26.603" v="1179" actId="478"/>
          <ac:spMkLst>
            <pc:docMk/>
            <pc:sldMk cId="2357444012" sldId="608"/>
            <ac:spMk id="17" creationId="{7FFB5D7E-C651-4E65-A76B-C48470F09858}"/>
          </ac:spMkLst>
        </pc:spChg>
        <pc:spChg chg="del">
          <ac:chgData name="Daniel Valero" userId="31dd2ff7-9a08-462f-9096-6c487a317220" providerId="ADAL" clId="{13C66EB5-766D-4A69-8EF8-1B215228E3C9}" dt="2020-02-24T21:56:25.283" v="1178" actId="478"/>
          <ac:spMkLst>
            <pc:docMk/>
            <pc:sldMk cId="2357444012" sldId="608"/>
            <ac:spMk id="18" creationId="{B04BB3DC-29AA-456A-AB33-D415DFC9D159}"/>
          </ac:spMkLst>
        </pc:spChg>
        <pc:spChg chg="add mod">
          <ac:chgData name="Daniel Valero" userId="31dd2ff7-9a08-462f-9096-6c487a317220" providerId="ADAL" clId="{13C66EB5-766D-4A69-8EF8-1B215228E3C9}" dt="2020-02-24T22:31:58.992" v="1359" actId="1076"/>
          <ac:spMkLst>
            <pc:docMk/>
            <pc:sldMk cId="2357444012" sldId="608"/>
            <ac:spMk id="19" creationId="{F030BAA5-B36C-40F0-8ECB-C2FA4702A1A6}"/>
          </ac:spMkLst>
        </pc:spChg>
        <pc:spChg chg="del mod">
          <ac:chgData name="Daniel Valero" userId="31dd2ff7-9a08-462f-9096-6c487a317220" providerId="ADAL" clId="{13C66EB5-766D-4A69-8EF8-1B215228E3C9}" dt="2020-02-24T21:56:27.441" v="1180" actId="478"/>
          <ac:spMkLst>
            <pc:docMk/>
            <pc:sldMk cId="2357444012" sldId="608"/>
            <ac:spMk id="20" creationId="{C321B790-A42B-4615-8886-FB1C9171170D}"/>
          </ac:spMkLst>
        </pc:spChg>
        <pc:spChg chg="add mod">
          <ac:chgData name="Daniel Valero" userId="31dd2ff7-9a08-462f-9096-6c487a317220" providerId="ADAL" clId="{13C66EB5-766D-4A69-8EF8-1B215228E3C9}" dt="2020-02-24T22:31:58.992" v="1359" actId="1076"/>
          <ac:spMkLst>
            <pc:docMk/>
            <pc:sldMk cId="2357444012" sldId="608"/>
            <ac:spMk id="21" creationId="{4BF813BF-53F6-4DD2-9AB4-FAF0F25D0ADF}"/>
          </ac:spMkLst>
        </pc:spChg>
        <pc:spChg chg="del">
          <ac:chgData name="Daniel Valero" userId="31dd2ff7-9a08-462f-9096-6c487a317220" providerId="ADAL" clId="{13C66EB5-766D-4A69-8EF8-1B215228E3C9}" dt="2020-02-24T21:56:28.616" v="1181" actId="478"/>
          <ac:spMkLst>
            <pc:docMk/>
            <pc:sldMk cId="2357444012" sldId="608"/>
            <ac:spMk id="22" creationId="{64A2DB2D-2637-4A54-9C7F-F159894633E7}"/>
          </ac:spMkLst>
        </pc:spChg>
        <pc:spChg chg="add mod">
          <ac:chgData name="Daniel Valero" userId="31dd2ff7-9a08-462f-9096-6c487a317220" providerId="ADAL" clId="{13C66EB5-766D-4A69-8EF8-1B215228E3C9}" dt="2020-02-24T22:31:58.992" v="1359" actId="1076"/>
          <ac:spMkLst>
            <pc:docMk/>
            <pc:sldMk cId="2357444012" sldId="608"/>
            <ac:spMk id="23" creationId="{DF445D7C-1452-44BB-9DCF-99DD02E4AFD1}"/>
          </ac:spMkLst>
        </pc:spChg>
        <pc:spChg chg="del">
          <ac:chgData name="Daniel Valero" userId="31dd2ff7-9a08-462f-9096-6c487a317220" providerId="ADAL" clId="{13C66EB5-766D-4A69-8EF8-1B215228E3C9}" dt="2020-02-24T21:59:10.284" v="1186" actId="478"/>
          <ac:spMkLst>
            <pc:docMk/>
            <pc:sldMk cId="2357444012" sldId="608"/>
            <ac:spMk id="25" creationId="{A0CA769B-4521-40FE-9E23-E3CEDE217E0A}"/>
          </ac:spMkLst>
        </pc:spChg>
        <pc:graphicFrameChg chg="add del mod modGraphic">
          <ac:chgData name="Daniel Valero" userId="31dd2ff7-9a08-462f-9096-6c487a317220" providerId="ADAL" clId="{13C66EB5-766D-4A69-8EF8-1B215228E3C9}" dt="2020-02-24T22:00:38.732" v="1242" actId="1032"/>
          <ac:graphicFrameMkLst>
            <pc:docMk/>
            <pc:sldMk cId="2357444012" sldId="608"/>
            <ac:graphicFrameMk id="7" creationId="{AAB14F4B-B9BA-499F-8FDB-D77211190519}"/>
          </ac:graphicFrameMkLst>
        </pc:graphicFrameChg>
        <pc:graphicFrameChg chg="add del modGraphic">
          <ac:chgData name="Daniel Valero" userId="31dd2ff7-9a08-462f-9096-6c487a317220" providerId="ADAL" clId="{13C66EB5-766D-4A69-8EF8-1B215228E3C9}" dt="2020-02-24T22:26:46.374" v="1281" actId="478"/>
          <ac:graphicFrameMkLst>
            <pc:docMk/>
            <pc:sldMk cId="2357444012" sldId="608"/>
            <ac:graphicFrameMk id="10" creationId="{DFAF5B3F-6FA2-429E-B6B0-CF85DE60E591}"/>
          </ac:graphicFrameMkLst>
        </pc:graphicFrameChg>
        <pc:graphicFrameChg chg="add del modGraphic">
          <ac:chgData name="Daniel Valero" userId="31dd2ff7-9a08-462f-9096-6c487a317220" providerId="ADAL" clId="{13C66EB5-766D-4A69-8EF8-1B215228E3C9}" dt="2020-02-24T22:27:04.779" v="1283" actId="478"/>
          <ac:graphicFrameMkLst>
            <pc:docMk/>
            <pc:sldMk cId="2357444012" sldId="608"/>
            <ac:graphicFrameMk id="11" creationId="{CCF41CE5-06E6-4EFA-8D3D-6AFD93BDB7C7}"/>
          </ac:graphicFrameMkLst>
        </pc:graphicFrameChg>
        <pc:picChg chg="add del mod">
          <ac:chgData name="Daniel Valero" userId="31dd2ff7-9a08-462f-9096-6c487a317220" providerId="ADAL" clId="{13C66EB5-766D-4A69-8EF8-1B215228E3C9}" dt="2020-02-25T19:09:12.960" v="4928" actId="478"/>
          <ac:picMkLst>
            <pc:docMk/>
            <pc:sldMk cId="2357444012" sldId="608"/>
            <ac:picMk id="9" creationId="{DB379C4B-6CA3-42BF-BB7A-3123A1B2B12A}"/>
          </ac:picMkLst>
        </pc:picChg>
        <pc:picChg chg="add mod">
          <ac:chgData name="Daniel Valero" userId="31dd2ff7-9a08-462f-9096-6c487a317220" providerId="ADAL" clId="{13C66EB5-766D-4A69-8EF8-1B215228E3C9}" dt="2020-02-24T22:31:58.992" v="1359" actId="1076"/>
          <ac:picMkLst>
            <pc:docMk/>
            <pc:sldMk cId="2357444012" sldId="608"/>
            <ac:picMk id="26" creationId="{530A9EE9-0B2F-46D2-9998-8EB0A84627A2}"/>
          </ac:picMkLst>
        </pc:picChg>
        <pc:picChg chg="add mod">
          <ac:chgData name="Daniel Valero" userId="31dd2ff7-9a08-462f-9096-6c487a317220" providerId="ADAL" clId="{13C66EB5-766D-4A69-8EF8-1B215228E3C9}" dt="2020-02-24T22:31:58.992" v="1359" actId="1076"/>
          <ac:picMkLst>
            <pc:docMk/>
            <pc:sldMk cId="2357444012" sldId="608"/>
            <ac:picMk id="27" creationId="{DAA039D9-9F3D-4C67-8524-BB169E94B3A8}"/>
          </ac:picMkLst>
        </pc:picChg>
        <pc:picChg chg="add del mod">
          <ac:chgData name="Daniel Valero" userId="31dd2ff7-9a08-462f-9096-6c487a317220" providerId="ADAL" clId="{13C66EB5-766D-4A69-8EF8-1B215228E3C9}" dt="2020-02-24T22:25:03.991" v="1268" actId="478"/>
          <ac:picMkLst>
            <pc:docMk/>
            <pc:sldMk cId="2357444012" sldId="608"/>
            <ac:picMk id="28" creationId="{832B662A-9325-4AB0-80C9-A62668062F10}"/>
          </ac:picMkLst>
        </pc:picChg>
        <pc:picChg chg="add mod">
          <ac:chgData name="Daniel Valero" userId="31dd2ff7-9a08-462f-9096-6c487a317220" providerId="ADAL" clId="{13C66EB5-766D-4A69-8EF8-1B215228E3C9}" dt="2020-02-24T22:31:58.992" v="1359" actId="1076"/>
          <ac:picMkLst>
            <pc:docMk/>
            <pc:sldMk cId="2357444012" sldId="608"/>
            <ac:picMk id="31" creationId="{B1BBEF7D-10F3-405D-9199-0C096029CD73}"/>
          </ac:picMkLst>
        </pc:picChg>
        <pc:picChg chg="add mod">
          <ac:chgData name="Daniel Valero" userId="31dd2ff7-9a08-462f-9096-6c487a317220" providerId="ADAL" clId="{13C66EB5-766D-4A69-8EF8-1B215228E3C9}" dt="2020-02-25T20:40:07.971" v="5342" actId="1076"/>
          <ac:picMkLst>
            <pc:docMk/>
            <pc:sldMk cId="2357444012" sldId="608"/>
            <ac:picMk id="38" creationId="{0F5B1FBB-54B7-47DA-9C8F-2769E65EB8BE}"/>
          </ac:picMkLst>
        </pc:picChg>
        <pc:picChg chg="del">
          <ac:chgData name="Daniel Valero" userId="31dd2ff7-9a08-462f-9096-6c487a317220" providerId="ADAL" clId="{13C66EB5-766D-4A69-8EF8-1B215228E3C9}" dt="2020-02-24T21:56:15.418" v="1169" actId="478"/>
          <ac:picMkLst>
            <pc:docMk/>
            <pc:sldMk cId="2357444012" sldId="608"/>
            <ac:picMk id="1028" creationId="{11D2FFA8-8159-4269-AABB-26626E73E9B9}"/>
          </ac:picMkLst>
        </pc:picChg>
        <pc:picChg chg="del">
          <ac:chgData name="Daniel Valero" userId="31dd2ff7-9a08-462f-9096-6c487a317220" providerId="ADAL" clId="{13C66EB5-766D-4A69-8EF8-1B215228E3C9}" dt="2020-02-24T21:56:16.093" v="1171" actId="478"/>
          <ac:picMkLst>
            <pc:docMk/>
            <pc:sldMk cId="2357444012" sldId="608"/>
            <ac:picMk id="1030" creationId="{04594F46-8518-4FF4-B53B-6C810780F989}"/>
          </ac:picMkLst>
        </pc:picChg>
        <pc:picChg chg="del">
          <ac:chgData name="Daniel Valero" userId="31dd2ff7-9a08-462f-9096-6c487a317220" providerId="ADAL" clId="{13C66EB5-766D-4A69-8EF8-1B215228E3C9}" dt="2020-02-24T21:59:11.806" v="1187" actId="478"/>
          <ac:picMkLst>
            <pc:docMk/>
            <pc:sldMk cId="2357444012" sldId="608"/>
            <ac:picMk id="1032" creationId="{F14E48FE-3B7E-41F9-A032-9F3CCB6F2ABB}"/>
          </ac:picMkLst>
        </pc:picChg>
        <pc:picChg chg="del">
          <ac:chgData name="Daniel Valero" userId="31dd2ff7-9a08-462f-9096-6c487a317220" providerId="ADAL" clId="{13C66EB5-766D-4A69-8EF8-1B215228E3C9}" dt="2020-02-24T21:56:19.593" v="1173" actId="478"/>
          <ac:picMkLst>
            <pc:docMk/>
            <pc:sldMk cId="2357444012" sldId="608"/>
            <ac:picMk id="1034" creationId="{3E5C0A35-5AF5-4C72-B87A-845C0D7820C8}"/>
          </ac:picMkLst>
        </pc:picChg>
        <pc:picChg chg="del">
          <ac:chgData name="Daniel Valero" userId="31dd2ff7-9a08-462f-9096-6c487a317220" providerId="ADAL" clId="{13C66EB5-766D-4A69-8EF8-1B215228E3C9}" dt="2020-02-24T21:56:20.952" v="1174" actId="478"/>
          <ac:picMkLst>
            <pc:docMk/>
            <pc:sldMk cId="2357444012" sldId="608"/>
            <ac:picMk id="1036" creationId="{A33C7D66-DC83-4F8A-A617-968722957AF5}"/>
          </ac:picMkLst>
        </pc:picChg>
        <pc:picChg chg="del">
          <ac:chgData name="Daniel Valero" userId="31dd2ff7-9a08-462f-9096-6c487a317220" providerId="ADAL" clId="{13C66EB5-766D-4A69-8EF8-1B215228E3C9}" dt="2020-02-24T21:56:23.115" v="1175" actId="478"/>
          <ac:picMkLst>
            <pc:docMk/>
            <pc:sldMk cId="2357444012" sldId="608"/>
            <ac:picMk id="1038" creationId="{5C5E6286-5839-4D81-940B-CB68A66B6595}"/>
          </ac:picMkLst>
        </pc:picChg>
        <pc:picChg chg="del">
          <ac:chgData name="Daniel Valero" userId="31dd2ff7-9a08-462f-9096-6c487a317220" providerId="ADAL" clId="{13C66EB5-766D-4A69-8EF8-1B215228E3C9}" dt="2020-02-24T21:56:23.115" v="1175" actId="478"/>
          <ac:picMkLst>
            <pc:docMk/>
            <pc:sldMk cId="2357444012" sldId="608"/>
            <ac:picMk id="1040" creationId="{55E7F75A-ED40-422A-977C-74663B0616D8}"/>
          </ac:picMkLst>
        </pc:picChg>
        <pc:picChg chg="del">
          <ac:chgData name="Daniel Valero" userId="31dd2ff7-9a08-462f-9096-6c487a317220" providerId="ADAL" clId="{13C66EB5-766D-4A69-8EF8-1B215228E3C9}" dt="2020-02-24T21:56:23.115" v="1175" actId="478"/>
          <ac:picMkLst>
            <pc:docMk/>
            <pc:sldMk cId="2357444012" sldId="608"/>
            <ac:picMk id="1042" creationId="{A0B91962-D37F-450E-83EC-BEE4BF8D06B6}"/>
          </ac:picMkLst>
        </pc:picChg>
        <pc:picChg chg="del">
          <ac:chgData name="Daniel Valero" userId="31dd2ff7-9a08-462f-9096-6c487a317220" providerId="ADAL" clId="{13C66EB5-766D-4A69-8EF8-1B215228E3C9}" dt="2020-02-24T21:56:20.952" v="1174" actId="478"/>
          <ac:picMkLst>
            <pc:docMk/>
            <pc:sldMk cId="2357444012" sldId="608"/>
            <ac:picMk id="1044" creationId="{2F608A90-F0A6-48F7-9B94-BDEB28F2AD01}"/>
          </ac:picMkLst>
        </pc:picChg>
      </pc:sldChg>
      <pc:sldChg chg="modSp add del mod modNotesTx">
        <pc:chgData name="Daniel Valero" userId="31dd2ff7-9a08-462f-9096-6c487a317220" providerId="ADAL" clId="{13C66EB5-766D-4A69-8EF8-1B215228E3C9}" dt="2020-02-24T22:52:36.328" v="1622" actId="47"/>
        <pc:sldMkLst>
          <pc:docMk/>
          <pc:sldMk cId="696613879" sldId="609"/>
        </pc:sldMkLst>
        <pc:spChg chg="mod">
          <ac:chgData name="Daniel Valero" userId="31dd2ff7-9a08-462f-9096-6c487a317220" providerId="ADAL" clId="{13C66EB5-766D-4A69-8EF8-1B215228E3C9}" dt="2020-02-24T22:34:29.463" v="1420" actId="20577"/>
          <ac:spMkLst>
            <pc:docMk/>
            <pc:sldMk cId="696613879" sldId="609"/>
            <ac:spMk id="3" creationId="{F35E8CBB-5A7D-4DEF-BAF7-8DD5D042F9E0}"/>
          </ac:spMkLst>
        </pc:spChg>
        <pc:spChg chg="mod">
          <ac:chgData name="Daniel Valero" userId="31dd2ff7-9a08-462f-9096-6c487a317220" providerId="ADAL" clId="{13C66EB5-766D-4A69-8EF8-1B215228E3C9}" dt="2020-02-24T22:48:16.100" v="1544"/>
          <ac:spMkLst>
            <pc:docMk/>
            <pc:sldMk cId="696613879" sldId="609"/>
            <ac:spMk id="4" creationId="{F3616A99-090F-45E1-9334-58D58B148205}"/>
          </ac:spMkLst>
        </pc:spChg>
      </pc:sldChg>
      <pc:sldChg chg="addSp delSp modSp add mod modNotesTx">
        <pc:chgData name="Daniel Valero" userId="31dd2ff7-9a08-462f-9096-6c487a317220" providerId="ADAL" clId="{13C66EB5-766D-4A69-8EF8-1B215228E3C9}" dt="2020-02-25T18:45:35.628" v="4336" actId="12"/>
        <pc:sldMkLst>
          <pc:docMk/>
          <pc:sldMk cId="458220930" sldId="610"/>
        </pc:sldMkLst>
        <pc:spChg chg="mod">
          <ac:chgData name="Daniel Valero" userId="31dd2ff7-9a08-462f-9096-6c487a317220" providerId="ADAL" clId="{13C66EB5-766D-4A69-8EF8-1B215228E3C9}" dt="2020-02-24T22:53:12.916" v="1643" actId="20577"/>
          <ac:spMkLst>
            <pc:docMk/>
            <pc:sldMk cId="458220930" sldId="610"/>
            <ac:spMk id="3" creationId="{F35E8CBB-5A7D-4DEF-BAF7-8DD5D042F9E0}"/>
          </ac:spMkLst>
        </pc:spChg>
        <pc:spChg chg="del">
          <ac:chgData name="Daniel Valero" userId="31dd2ff7-9a08-462f-9096-6c487a317220" providerId="ADAL" clId="{13C66EB5-766D-4A69-8EF8-1B215228E3C9}" dt="2020-02-24T22:45:52.912" v="1465" actId="478"/>
          <ac:spMkLst>
            <pc:docMk/>
            <pc:sldMk cId="458220930" sldId="610"/>
            <ac:spMk id="4" creationId="{F3616A99-090F-45E1-9334-58D58B148205}"/>
          </ac:spMkLst>
        </pc:spChg>
        <pc:spChg chg="add del mod">
          <ac:chgData name="Daniel Valero" userId="31dd2ff7-9a08-462f-9096-6c487a317220" providerId="ADAL" clId="{13C66EB5-766D-4A69-8EF8-1B215228E3C9}" dt="2020-02-24T22:56:08.726" v="1751" actId="478"/>
          <ac:spMkLst>
            <pc:docMk/>
            <pc:sldMk cId="458220930" sldId="610"/>
            <ac:spMk id="5" creationId="{B5CE0DA6-0899-4A38-87BD-787699B43C1F}"/>
          </ac:spMkLst>
        </pc:spChg>
        <pc:spChg chg="add del mod">
          <ac:chgData name="Daniel Valero" userId="31dd2ff7-9a08-462f-9096-6c487a317220" providerId="ADAL" clId="{13C66EB5-766D-4A69-8EF8-1B215228E3C9}" dt="2020-02-24T22:45:54.690" v="1466" actId="478"/>
          <ac:spMkLst>
            <pc:docMk/>
            <pc:sldMk cId="458220930" sldId="610"/>
            <ac:spMk id="7" creationId="{DD003345-F75D-47B9-AAE9-F406B4908252}"/>
          </ac:spMkLst>
        </pc:spChg>
        <pc:spChg chg="add mod">
          <ac:chgData name="Daniel Valero" userId="31dd2ff7-9a08-462f-9096-6c487a317220" providerId="ADAL" clId="{13C66EB5-766D-4A69-8EF8-1B215228E3C9}" dt="2020-02-25T18:45:35.628" v="4336" actId="12"/>
          <ac:spMkLst>
            <pc:docMk/>
            <pc:sldMk cId="458220930" sldId="610"/>
            <ac:spMk id="8" creationId="{E8C76887-6CE6-4D25-954C-4A5858E325DB}"/>
          </ac:spMkLst>
        </pc:spChg>
        <pc:spChg chg="add del mod">
          <ac:chgData name="Daniel Valero" userId="31dd2ff7-9a08-462f-9096-6c487a317220" providerId="ADAL" clId="{13C66EB5-766D-4A69-8EF8-1B215228E3C9}" dt="2020-02-24T22:56:09.828" v="1754" actId="14100"/>
          <ac:spMkLst>
            <pc:docMk/>
            <pc:sldMk cId="458220930" sldId="610"/>
            <ac:spMk id="9" creationId="{942448F0-C472-4D9E-9619-70E2DD1F57B9}"/>
          </ac:spMkLst>
        </pc:spChg>
        <pc:picChg chg="add mod">
          <ac:chgData name="Daniel Valero" userId="31dd2ff7-9a08-462f-9096-6c487a317220" providerId="ADAL" clId="{13C66EB5-766D-4A69-8EF8-1B215228E3C9}" dt="2020-02-24T23:00:38.893" v="1810" actId="1076"/>
          <ac:picMkLst>
            <pc:docMk/>
            <pc:sldMk cId="458220930" sldId="610"/>
            <ac:picMk id="10" creationId="{670214CA-F5A9-4766-801D-FB1A27E93DFD}"/>
          </ac:picMkLst>
        </pc:picChg>
      </pc:sldChg>
      <pc:sldChg chg="addSp delSp modSp add mod modNotesTx">
        <pc:chgData name="Daniel Valero" userId="31dd2ff7-9a08-462f-9096-6c487a317220" providerId="ADAL" clId="{13C66EB5-766D-4A69-8EF8-1B215228E3C9}" dt="2020-02-24T23:00:13.423" v="1804"/>
        <pc:sldMkLst>
          <pc:docMk/>
          <pc:sldMk cId="788357468" sldId="611"/>
        </pc:sldMkLst>
        <pc:spChg chg="mod">
          <ac:chgData name="Daniel Valero" userId="31dd2ff7-9a08-462f-9096-6c487a317220" providerId="ADAL" clId="{13C66EB5-766D-4A69-8EF8-1B215228E3C9}" dt="2020-02-24T22:49:18.225" v="1599" actId="20577"/>
          <ac:spMkLst>
            <pc:docMk/>
            <pc:sldMk cId="788357468" sldId="611"/>
            <ac:spMk id="3" creationId="{F35E8CBB-5A7D-4DEF-BAF7-8DD5D042F9E0}"/>
          </ac:spMkLst>
        </pc:spChg>
        <pc:spChg chg="del">
          <ac:chgData name="Daniel Valero" userId="31dd2ff7-9a08-462f-9096-6c487a317220" providerId="ADAL" clId="{13C66EB5-766D-4A69-8EF8-1B215228E3C9}" dt="2020-02-24T22:49:19.872" v="1600" actId="478"/>
          <ac:spMkLst>
            <pc:docMk/>
            <pc:sldMk cId="788357468" sldId="611"/>
            <ac:spMk id="4" creationId="{F3616A99-090F-45E1-9334-58D58B148205}"/>
          </ac:spMkLst>
        </pc:spChg>
        <pc:spChg chg="mod">
          <ac:chgData name="Daniel Valero" userId="31dd2ff7-9a08-462f-9096-6c487a317220" providerId="ADAL" clId="{13C66EB5-766D-4A69-8EF8-1B215228E3C9}" dt="2020-02-24T22:49:29.208" v="1603" actId="14100"/>
          <ac:spMkLst>
            <pc:docMk/>
            <pc:sldMk cId="788357468" sldId="611"/>
            <ac:spMk id="5" creationId="{003D2DDE-6F50-4F92-9EAA-FEF33D9668A9}"/>
          </ac:spMkLst>
        </pc:spChg>
        <pc:spChg chg="add del mod">
          <ac:chgData name="Daniel Valero" userId="31dd2ff7-9a08-462f-9096-6c487a317220" providerId="ADAL" clId="{13C66EB5-766D-4A69-8EF8-1B215228E3C9}" dt="2020-02-24T22:49:21.499" v="1601" actId="478"/>
          <ac:spMkLst>
            <pc:docMk/>
            <pc:sldMk cId="788357468" sldId="611"/>
            <ac:spMk id="8" creationId="{3AFAC371-8B3F-4070-8469-8149FE6994C9}"/>
          </ac:spMkLst>
        </pc:spChg>
        <pc:picChg chg="mod">
          <ac:chgData name="Daniel Valero" userId="31dd2ff7-9a08-462f-9096-6c487a317220" providerId="ADAL" clId="{13C66EB5-766D-4A69-8EF8-1B215228E3C9}" dt="2020-02-24T22:59:06.833" v="1787" actId="1076"/>
          <ac:picMkLst>
            <pc:docMk/>
            <pc:sldMk cId="788357468" sldId="611"/>
            <ac:picMk id="6" creationId="{DC6DBBD2-9C12-49C3-8471-FCE8F8932E96}"/>
          </ac:picMkLst>
        </pc:picChg>
        <pc:picChg chg="add del">
          <ac:chgData name="Daniel Valero" userId="31dd2ff7-9a08-462f-9096-6c487a317220" providerId="ADAL" clId="{13C66EB5-766D-4A69-8EF8-1B215228E3C9}" dt="2020-02-24T23:00:13.423" v="1804"/>
          <ac:picMkLst>
            <pc:docMk/>
            <pc:sldMk cId="788357468" sldId="611"/>
            <ac:picMk id="9" creationId="{AD093B7F-3D15-476C-86A7-43C2660490FD}"/>
          </ac:picMkLst>
        </pc:picChg>
      </pc:sldChg>
      <pc:sldChg chg="addSp modSp add mod modNotesTx">
        <pc:chgData name="Daniel Valero" userId="31dd2ff7-9a08-462f-9096-6c487a317220" providerId="ADAL" clId="{13C66EB5-766D-4A69-8EF8-1B215228E3C9}" dt="2020-02-25T18:45:38.604" v="4337" actId="12"/>
        <pc:sldMkLst>
          <pc:docMk/>
          <pc:sldMk cId="1244209906" sldId="612"/>
        </pc:sldMkLst>
        <pc:spChg chg="mod">
          <ac:chgData name="Daniel Valero" userId="31dd2ff7-9a08-462f-9096-6c487a317220" providerId="ADAL" clId="{13C66EB5-766D-4A69-8EF8-1B215228E3C9}" dt="2020-02-24T22:56:21.052" v="1766" actId="20577"/>
          <ac:spMkLst>
            <pc:docMk/>
            <pc:sldMk cId="1244209906" sldId="612"/>
            <ac:spMk id="3" creationId="{F35E8CBB-5A7D-4DEF-BAF7-8DD5D042F9E0}"/>
          </ac:spMkLst>
        </pc:spChg>
        <pc:spChg chg="mod">
          <ac:chgData name="Daniel Valero" userId="31dd2ff7-9a08-462f-9096-6c487a317220" providerId="ADAL" clId="{13C66EB5-766D-4A69-8EF8-1B215228E3C9}" dt="2020-02-25T18:45:38.604" v="4337" actId="12"/>
          <ac:spMkLst>
            <pc:docMk/>
            <pc:sldMk cId="1244209906" sldId="612"/>
            <ac:spMk id="8" creationId="{E8C76887-6CE6-4D25-954C-4A5858E325DB}"/>
          </ac:spMkLst>
        </pc:spChg>
        <pc:spChg chg="mod">
          <ac:chgData name="Daniel Valero" userId="31dd2ff7-9a08-462f-9096-6c487a317220" providerId="ADAL" clId="{13C66EB5-766D-4A69-8EF8-1B215228E3C9}" dt="2020-02-24T22:56:47.042" v="1767"/>
          <ac:spMkLst>
            <pc:docMk/>
            <pc:sldMk cId="1244209906" sldId="612"/>
            <ac:spMk id="9" creationId="{942448F0-C472-4D9E-9619-70E2DD1F57B9}"/>
          </ac:spMkLst>
        </pc:spChg>
        <pc:picChg chg="add mod">
          <ac:chgData name="Daniel Valero" userId="31dd2ff7-9a08-462f-9096-6c487a317220" providerId="ADAL" clId="{13C66EB5-766D-4A69-8EF8-1B215228E3C9}" dt="2020-02-24T23:00:52.509" v="1812" actId="1076"/>
          <ac:picMkLst>
            <pc:docMk/>
            <pc:sldMk cId="1244209906" sldId="612"/>
            <ac:picMk id="6" creationId="{52B9BDBE-9472-41E6-A3F9-62DCA39782BF}"/>
          </ac:picMkLst>
        </pc:picChg>
      </pc:sldChg>
      <pc:sldChg chg="add del">
        <pc:chgData name="Daniel Valero" userId="31dd2ff7-9a08-462f-9096-6c487a317220" providerId="ADAL" clId="{13C66EB5-766D-4A69-8EF8-1B215228E3C9}" dt="2020-02-24T22:53:07.165" v="1630" actId="47"/>
        <pc:sldMkLst>
          <pc:docMk/>
          <pc:sldMk cId="4068168916" sldId="612"/>
        </pc:sldMkLst>
      </pc:sldChg>
      <pc:sldChg chg="addSp delSp modSp add mod modNotesTx">
        <pc:chgData name="Daniel Valero" userId="31dd2ff7-9a08-462f-9096-6c487a317220" providerId="ADAL" clId="{13C66EB5-766D-4A69-8EF8-1B215228E3C9}" dt="2020-02-24T22:59:53.046" v="1802" actId="1076"/>
        <pc:sldMkLst>
          <pc:docMk/>
          <pc:sldMk cId="2144703764" sldId="613"/>
        </pc:sldMkLst>
        <pc:spChg chg="mod">
          <ac:chgData name="Daniel Valero" userId="31dd2ff7-9a08-462f-9096-6c487a317220" providerId="ADAL" clId="{13C66EB5-766D-4A69-8EF8-1B215228E3C9}" dt="2020-02-24T22:59:13.930" v="1794" actId="20577"/>
          <ac:spMkLst>
            <pc:docMk/>
            <pc:sldMk cId="2144703764" sldId="613"/>
            <ac:spMk id="3" creationId="{F35E8CBB-5A7D-4DEF-BAF7-8DD5D042F9E0}"/>
          </ac:spMkLst>
        </pc:spChg>
        <pc:spChg chg="del">
          <ac:chgData name="Daniel Valero" userId="31dd2ff7-9a08-462f-9096-6c487a317220" providerId="ADAL" clId="{13C66EB5-766D-4A69-8EF8-1B215228E3C9}" dt="2020-02-24T22:59:39.292" v="1796" actId="478"/>
          <ac:spMkLst>
            <pc:docMk/>
            <pc:sldMk cId="2144703764" sldId="613"/>
            <ac:spMk id="5" creationId="{003D2DDE-6F50-4F92-9EAA-FEF33D9668A9}"/>
          </ac:spMkLst>
        </pc:spChg>
        <pc:spChg chg="add mod">
          <ac:chgData name="Daniel Valero" userId="31dd2ff7-9a08-462f-9096-6c487a317220" providerId="ADAL" clId="{13C66EB5-766D-4A69-8EF8-1B215228E3C9}" dt="2020-02-24T22:59:48.581" v="1801" actId="14100"/>
          <ac:spMkLst>
            <pc:docMk/>
            <pc:sldMk cId="2144703764" sldId="613"/>
            <ac:spMk id="8" creationId="{011D16BD-704A-4F57-A901-F0A7869CE50B}"/>
          </ac:spMkLst>
        </pc:spChg>
        <pc:picChg chg="del">
          <ac:chgData name="Daniel Valero" userId="31dd2ff7-9a08-462f-9096-6c487a317220" providerId="ADAL" clId="{13C66EB5-766D-4A69-8EF8-1B215228E3C9}" dt="2020-02-24T22:59:39.823" v="1797" actId="478"/>
          <ac:picMkLst>
            <pc:docMk/>
            <pc:sldMk cId="2144703764" sldId="613"/>
            <ac:picMk id="6" creationId="{DC6DBBD2-9C12-49C3-8471-FCE8F8932E96}"/>
          </ac:picMkLst>
        </pc:picChg>
        <pc:picChg chg="add mod">
          <ac:chgData name="Daniel Valero" userId="31dd2ff7-9a08-462f-9096-6c487a317220" providerId="ADAL" clId="{13C66EB5-766D-4A69-8EF8-1B215228E3C9}" dt="2020-02-24T22:59:53.046" v="1802" actId="1076"/>
          <ac:picMkLst>
            <pc:docMk/>
            <pc:sldMk cId="2144703764" sldId="613"/>
            <ac:picMk id="7" creationId="{985B67AA-C7E3-42A9-B297-6819AC243876}"/>
          </ac:picMkLst>
        </pc:picChg>
      </pc:sldChg>
      <pc:sldChg chg="addSp delSp modSp add mod ord modNotesTx">
        <pc:chgData name="Daniel Valero" userId="31dd2ff7-9a08-462f-9096-6c487a317220" providerId="ADAL" clId="{13C66EB5-766D-4A69-8EF8-1B215228E3C9}" dt="2020-02-24T23:11:18.256" v="1981" actId="12"/>
        <pc:sldMkLst>
          <pc:docMk/>
          <pc:sldMk cId="1785315488" sldId="614"/>
        </pc:sldMkLst>
        <pc:spChg chg="mod">
          <ac:chgData name="Daniel Valero" userId="31dd2ff7-9a08-462f-9096-6c487a317220" providerId="ADAL" clId="{13C66EB5-766D-4A69-8EF8-1B215228E3C9}" dt="2020-02-24T23:01:58.711" v="1821" actId="20577"/>
          <ac:spMkLst>
            <pc:docMk/>
            <pc:sldMk cId="1785315488" sldId="614"/>
            <ac:spMk id="3" creationId="{F35E8CBB-5A7D-4DEF-BAF7-8DD5D042F9E0}"/>
          </ac:spMkLst>
        </pc:spChg>
        <pc:spChg chg="add del mod">
          <ac:chgData name="Daniel Valero" userId="31dd2ff7-9a08-462f-9096-6c487a317220" providerId="ADAL" clId="{13C66EB5-766D-4A69-8EF8-1B215228E3C9}" dt="2020-02-24T23:04:15.170" v="1835" actId="14100"/>
          <ac:spMkLst>
            <pc:docMk/>
            <pc:sldMk cId="1785315488" sldId="614"/>
            <ac:spMk id="5" creationId="{081B2B70-8BFF-4A7E-988E-65E48F94A9B3}"/>
          </ac:spMkLst>
        </pc:spChg>
        <pc:spChg chg="del">
          <ac:chgData name="Daniel Valero" userId="31dd2ff7-9a08-462f-9096-6c487a317220" providerId="ADAL" clId="{13C66EB5-766D-4A69-8EF8-1B215228E3C9}" dt="2020-02-24T23:02:02.012" v="1824" actId="478"/>
          <ac:spMkLst>
            <pc:docMk/>
            <pc:sldMk cId="1785315488" sldId="614"/>
            <ac:spMk id="8" creationId="{E8C76887-6CE6-4D25-954C-4A5858E325DB}"/>
          </ac:spMkLst>
        </pc:spChg>
        <pc:spChg chg="del mod">
          <ac:chgData name="Daniel Valero" userId="31dd2ff7-9a08-462f-9096-6c487a317220" providerId="ADAL" clId="{13C66EB5-766D-4A69-8EF8-1B215228E3C9}" dt="2020-02-24T23:02:00.778" v="1823" actId="478"/>
          <ac:spMkLst>
            <pc:docMk/>
            <pc:sldMk cId="1785315488" sldId="614"/>
            <ac:spMk id="9" creationId="{942448F0-C472-4D9E-9619-70E2DD1F57B9}"/>
          </ac:spMkLst>
        </pc:spChg>
        <pc:spChg chg="add mod">
          <ac:chgData name="Daniel Valero" userId="31dd2ff7-9a08-462f-9096-6c487a317220" providerId="ADAL" clId="{13C66EB5-766D-4A69-8EF8-1B215228E3C9}" dt="2020-02-24T23:10:16.087" v="1921" actId="1076"/>
          <ac:spMkLst>
            <pc:docMk/>
            <pc:sldMk cId="1785315488" sldId="614"/>
            <ac:spMk id="10" creationId="{BA7EA055-73F0-4627-871C-3B73D6D2E540}"/>
          </ac:spMkLst>
        </pc:spChg>
        <pc:graphicFrameChg chg="add mod modGraphic">
          <ac:chgData name="Daniel Valero" userId="31dd2ff7-9a08-462f-9096-6c487a317220" providerId="ADAL" clId="{13C66EB5-766D-4A69-8EF8-1B215228E3C9}" dt="2020-02-24T23:09:57.503" v="1914" actId="14100"/>
          <ac:graphicFrameMkLst>
            <pc:docMk/>
            <pc:sldMk cId="1785315488" sldId="614"/>
            <ac:graphicFrameMk id="7" creationId="{2C42F25C-0DB3-4B82-9B43-85C94330D8CB}"/>
          </ac:graphicFrameMkLst>
        </pc:graphicFrameChg>
        <pc:picChg chg="del">
          <ac:chgData name="Daniel Valero" userId="31dd2ff7-9a08-462f-9096-6c487a317220" providerId="ADAL" clId="{13C66EB5-766D-4A69-8EF8-1B215228E3C9}" dt="2020-02-24T23:04:50.915" v="1858" actId="478"/>
          <ac:picMkLst>
            <pc:docMk/>
            <pc:sldMk cId="1785315488" sldId="614"/>
            <ac:picMk id="6" creationId="{52B9BDBE-9472-41E6-A3F9-62DCA39782BF}"/>
          </ac:picMkLst>
        </pc:picChg>
      </pc:sldChg>
      <pc:sldChg chg="addSp delSp modSp add mod modNotesTx">
        <pc:chgData name="Daniel Valero" userId="31dd2ff7-9a08-462f-9096-6c487a317220" providerId="ADAL" clId="{13C66EB5-766D-4A69-8EF8-1B215228E3C9}" dt="2020-02-25T18:56:07.919" v="4641" actId="1076"/>
        <pc:sldMkLst>
          <pc:docMk/>
          <pc:sldMk cId="3804096970" sldId="615"/>
        </pc:sldMkLst>
        <pc:spChg chg="mod">
          <ac:chgData name="Daniel Valero" userId="31dd2ff7-9a08-462f-9096-6c487a317220" providerId="ADAL" clId="{13C66EB5-766D-4A69-8EF8-1B215228E3C9}" dt="2020-02-24T23:32:39.555" v="2082" actId="20577"/>
          <ac:spMkLst>
            <pc:docMk/>
            <pc:sldMk cId="3804096970" sldId="615"/>
            <ac:spMk id="3" creationId="{F35E8CBB-5A7D-4DEF-BAF7-8DD5D042F9E0}"/>
          </ac:spMkLst>
        </pc:spChg>
        <pc:spChg chg="mod">
          <ac:chgData name="Daniel Valero" userId="31dd2ff7-9a08-462f-9096-6c487a317220" providerId="ADAL" clId="{13C66EB5-766D-4A69-8EF8-1B215228E3C9}" dt="2020-02-25T18:55:56.142" v="4635" actId="1076"/>
          <ac:spMkLst>
            <pc:docMk/>
            <pc:sldMk cId="3804096970" sldId="615"/>
            <ac:spMk id="4" creationId="{F3616A99-090F-45E1-9334-58D58B148205}"/>
          </ac:spMkLst>
        </pc:spChg>
        <pc:spChg chg="del">
          <ac:chgData name="Daniel Valero" userId="31dd2ff7-9a08-462f-9096-6c487a317220" providerId="ADAL" clId="{13C66EB5-766D-4A69-8EF8-1B215228E3C9}" dt="2020-02-24T23:11:52.324" v="1986" actId="478"/>
          <ac:spMkLst>
            <pc:docMk/>
            <pc:sldMk cId="3804096970" sldId="615"/>
            <ac:spMk id="9" creationId="{5CF14BD0-AFDA-488D-BF1F-B83A8143DA2F}"/>
          </ac:spMkLst>
        </pc:spChg>
        <pc:picChg chg="add del mod">
          <ac:chgData name="Daniel Valero" userId="31dd2ff7-9a08-462f-9096-6c487a317220" providerId="ADAL" clId="{13C66EB5-766D-4A69-8EF8-1B215228E3C9}" dt="2020-02-25T18:56:06.703" v="4640" actId="478"/>
          <ac:picMkLst>
            <pc:docMk/>
            <pc:sldMk cId="3804096970" sldId="615"/>
            <ac:picMk id="7" creationId="{8CEF03F8-4B73-4E89-80DE-28B0A79F2B78}"/>
          </ac:picMkLst>
        </pc:picChg>
        <pc:picChg chg="del">
          <ac:chgData name="Daniel Valero" userId="31dd2ff7-9a08-462f-9096-6c487a317220" providerId="ADAL" clId="{13C66EB5-766D-4A69-8EF8-1B215228E3C9}" dt="2020-02-24T23:11:43.482" v="1983" actId="478"/>
          <ac:picMkLst>
            <pc:docMk/>
            <pc:sldMk cId="3804096970" sldId="615"/>
            <ac:picMk id="10" creationId="{7E8B0F86-A58C-4432-9091-BD95C14037FE}"/>
          </ac:picMkLst>
        </pc:picChg>
        <pc:picChg chg="add mod">
          <ac:chgData name="Daniel Valero" userId="31dd2ff7-9a08-462f-9096-6c487a317220" providerId="ADAL" clId="{13C66EB5-766D-4A69-8EF8-1B215228E3C9}" dt="2020-02-25T18:56:07.919" v="4641" actId="1076"/>
          <ac:picMkLst>
            <pc:docMk/>
            <pc:sldMk cId="3804096970" sldId="615"/>
            <ac:picMk id="5122" creationId="{2ABF4842-E9EB-4F95-AFC3-C83F1B5607BD}"/>
          </ac:picMkLst>
        </pc:picChg>
      </pc:sldChg>
      <pc:sldChg chg="addSp delSp modSp add mod modNotesTx">
        <pc:chgData name="Daniel Valero" userId="31dd2ff7-9a08-462f-9096-6c487a317220" providerId="ADAL" clId="{13C66EB5-766D-4A69-8EF8-1B215228E3C9}" dt="2020-02-25T18:56:11.690" v="4643"/>
        <pc:sldMkLst>
          <pc:docMk/>
          <pc:sldMk cId="3292541491" sldId="616"/>
        </pc:sldMkLst>
        <pc:spChg chg="del mod">
          <ac:chgData name="Daniel Valero" userId="31dd2ff7-9a08-462f-9096-6c487a317220" providerId="ADAL" clId="{13C66EB5-766D-4A69-8EF8-1B215228E3C9}" dt="2020-02-25T18:55:48.364" v="4632" actId="478"/>
          <ac:spMkLst>
            <pc:docMk/>
            <pc:sldMk cId="3292541491" sldId="616"/>
            <ac:spMk id="3" creationId="{F35E8CBB-5A7D-4DEF-BAF7-8DD5D042F9E0}"/>
          </ac:spMkLst>
        </pc:spChg>
        <pc:spChg chg="mod">
          <ac:chgData name="Daniel Valero" userId="31dd2ff7-9a08-462f-9096-6c487a317220" providerId="ADAL" clId="{13C66EB5-766D-4A69-8EF8-1B215228E3C9}" dt="2020-02-24T23:40:12.952" v="2320" actId="20577"/>
          <ac:spMkLst>
            <pc:docMk/>
            <pc:sldMk cId="3292541491" sldId="616"/>
            <ac:spMk id="4" creationId="{F3616A99-090F-45E1-9334-58D58B148205}"/>
          </ac:spMkLst>
        </pc:spChg>
        <pc:spChg chg="add del mod">
          <ac:chgData name="Daniel Valero" userId="31dd2ff7-9a08-462f-9096-6c487a317220" providerId="ADAL" clId="{13C66EB5-766D-4A69-8EF8-1B215228E3C9}" dt="2020-02-24T23:36:24.669" v="2134" actId="478"/>
          <ac:spMkLst>
            <pc:docMk/>
            <pc:sldMk cId="3292541491" sldId="616"/>
            <ac:spMk id="5" creationId="{803B4D59-3021-4DF1-AB6B-335DC1FACF20}"/>
          </ac:spMkLst>
        </pc:spChg>
        <pc:spChg chg="add del mod">
          <ac:chgData name="Daniel Valero" userId="31dd2ff7-9a08-462f-9096-6c487a317220" providerId="ADAL" clId="{13C66EB5-766D-4A69-8EF8-1B215228E3C9}" dt="2020-02-24T23:40:18.984" v="2327" actId="1036"/>
          <ac:spMkLst>
            <pc:docMk/>
            <pc:sldMk cId="3292541491" sldId="616"/>
            <ac:spMk id="6" creationId="{F8842B6B-AD6C-401F-904D-7A4A505688DB}"/>
          </ac:spMkLst>
        </pc:spChg>
        <pc:spChg chg="add mod">
          <ac:chgData name="Daniel Valero" userId="31dd2ff7-9a08-462f-9096-6c487a317220" providerId="ADAL" clId="{13C66EB5-766D-4A69-8EF8-1B215228E3C9}" dt="2020-02-24T23:40:18.984" v="2327" actId="1036"/>
          <ac:spMkLst>
            <pc:docMk/>
            <pc:sldMk cId="3292541491" sldId="616"/>
            <ac:spMk id="8" creationId="{63B9B722-F161-4DC3-9B99-6703E07B34E0}"/>
          </ac:spMkLst>
        </pc:spChg>
        <pc:spChg chg="add mod">
          <ac:chgData name="Daniel Valero" userId="31dd2ff7-9a08-462f-9096-6c487a317220" providerId="ADAL" clId="{13C66EB5-766D-4A69-8EF8-1B215228E3C9}" dt="2020-02-24T23:40:27.258" v="2332" actId="1076"/>
          <ac:spMkLst>
            <pc:docMk/>
            <pc:sldMk cId="3292541491" sldId="616"/>
            <ac:spMk id="9" creationId="{C1C8E9F5-5846-45F0-9E02-D14844D69038}"/>
          </ac:spMkLst>
        </pc:spChg>
        <pc:spChg chg="add del">
          <ac:chgData name="Daniel Valero" userId="31dd2ff7-9a08-462f-9096-6c487a317220" providerId="ADAL" clId="{13C66EB5-766D-4A69-8EF8-1B215228E3C9}" dt="2020-02-24T23:39:11.234" v="2282"/>
          <ac:spMkLst>
            <pc:docMk/>
            <pc:sldMk cId="3292541491" sldId="616"/>
            <ac:spMk id="10" creationId="{04655D06-0F35-4836-8581-011AD3BB0010}"/>
          </ac:spMkLst>
        </pc:spChg>
        <pc:spChg chg="add mod">
          <ac:chgData name="Daniel Valero" userId="31dd2ff7-9a08-462f-9096-6c487a317220" providerId="ADAL" clId="{13C66EB5-766D-4A69-8EF8-1B215228E3C9}" dt="2020-02-25T18:55:48.364" v="4632" actId="478"/>
          <ac:spMkLst>
            <pc:docMk/>
            <pc:sldMk cId="3292541491" sldId="616"/>
            <ac:spMk id="11" creationId="{FFAAFCAB-7AC9-4807-ACDA-4668ED10F3AF}"/>
          </ac:spMkLst>
        </pc:spChg>
        <pc:picChg chg="del">
          <ac:chgData name="Daniel Valero" userId="31dd2ff7-9a08-462f-9096-6c487a317220" providerId="ADAL" clId="{13C66EB5-766D-4A69-8EF8-1B215228E3C9}" dt="2020-02-25T18:56:11.035" v="4642" actId="478"/>
          <ac:picMkLst>
            <pc:docMk/>
            <pc:sldMk cId="3292541491" sldId="616"/>
            <ac:picMk id="7" creationId="{8CEF03F8-4B73-4E89-80DE-28B0A79F2B78}"/>
          </ac:picMkLst>
        </pc:picChg>
        <pc:picChg chg="add">
          <ac:chgData name="Daniel Valero" userId="31dd2ff7-9a08-462f-9096-6c487a317220" providerId="ADAL" clId="{13C66EB5-766D-4A69-8EF8-1B215228E3C9}" dt="2020-02-25T18:56:11.690" v="4643"/>
          <ac:picMkLst>
            <pc:docMk/>
            <pc:sldMk cId="3292541491" sldId="616"/>
            <ac:picMk id="13" creationId="{BDFA756D-3080-467C-A3AC-4BB7340A2D72}"/>
          </ac:picMkLst>
        </pc:picChg>
        <pc:picChg chg="add del mod">
          <ac:chgData name="Daniel Valero" userId="31dd2ff7-9a08-462f-9096-6c487a317220" providerId="ADAL" clId="{13C66EB5-766D-4A69-8EF8-1B215228E3C9}" dt="2020-02-25T18:55:48.364" v="4632" actId="478"/>
          <ac:picMkLst>
            <pc:docMk/>
            <pc:sldMk cId="3292541491" sldId="616"/>
            <ac:picMk id="4098" creationId="{B1B5398C-2FFE-4F99-A04D-934733ACB91E}"/>
          </ac:picMkLst>
        </pc:picChg>
      </pc:sldChg>
      <pc:sldChg chg="addSp delSp modSp add mod delAnim modAnim modNotesTx">
        <pc:chgData name="Daniel Valero" userId="31dd2ff7-9a08-462f-9096-6c487a317220" providerId="ADAL" clId="{13C66EB5-766D-4A69-8EF8-1B215228E3C9}" dt="2020-02-25T17:30:38.695" v="2681" actId="790"/>
        <pc:sldMkLst>
          <pc:docMk/>
          <pc:sldMk cId="3894491069" sldId="617"/>
        </pc:sldMkLst>
        <pc:spChg chg="mod">
          <ac:chgData name="Daniel Valero" userId="31dd2ff7-9a08-462f-9096-6c487a317220" providerId="ADAL" clId="{13C66EB5-766D-4A69-8EF8-1B215228E3C9}" dt="2020-02-25T17:30:38.695" v="2681" actId="790"/>
          <ac:spMkLst>
            <pc:docMk/>
            <pc:sldMk cId="3894491069" sldId="617"/>
            <ac:spMk id="2" creationId="{EB67312A-9819-43C6-8D84-D9136E6CFFCC}"/>
          </ac:spMkLst>
        </pc:spChg>
        <pc:spChg chg="mod">
          <ac:chgData name="Daniel Valero" userId="31dd2ff7-9a08-462f-9096-6c487a317220" providerId="ADAL" clId="{13C66EB5-766D-4A69-8EF8-1B215228E3C9}" dt="2020-02-25T17:30:38.695" v="2681" actId="790"/>
          <ac:spMkLst>
            <pc:docMk/>
            <pc:sldMk cId="3894491069" sldId="617"/>
            <ac:spMk id="3" creationId="{F35E8CBB-5A7D-4DEF-BAF7-8DD5D042F9E0}"/>
          </ac:spMkLst>
        </pc:spChg>
        <pc:spChg chg="add del mod">
          <ac:chgData name="Daniel Valero" userId="31dd2ff7-9a08-462f-9096-6c487a317220" providerId="ADAL" clId="{13C66EB5-766D-4A69-8EF8-1B215228E3C9}" dt="2020-02-25T17:28:01.339" v="2667" actId="478"/>
          <ac:spMkLst>
            <pc:docMk/>
            <pc:sldMk cId="3894491069" sldId="617"/>
            <ac:spMk id="4" creationId="{A6ADCEF1-3049-41E0-938A-5456122D1069}"/>
          </ac:spMkLst>
        </pc:spChg>
        <pc:spChg chg="del mod">
          <ac:chgData name="Daniel Valero" userId="31dd2ff7-9a08-462f-9096-6c487a317220" providerId="ADAL" clId="{13C66EB5-766D-4A69-8EF8-1B215228E3C9}" dt="2020-02-25T15:04:46.468" v="2384" actId="478"/>
          <ac:spMkLst>
            <pc:docMk/>
            <pc:sldMk cId="3894491069" sldId="617"/>
            <ac:spMk id="5" creationId="{9FD93DC8-1DF7-4B66-8DBA-227D054D5066}"/>
          </ac:spMkLst>
        </pc:spChg>
        <pc:spChg chg="del">
          <ac:chgData name="Daniel Valero" userId="31dd2ff7-9a08-462f-9096-6c487a317220" providerId="ADAL" clId="{13C66EB5-766D-4A69-8EF8-1B215228E3C9}" dt="2020-02-25T15:04:46.022" v="2383" actId="478"/>
          <ac:spMkLst>
            <pc:docMk/>
            <pc:sldMk cId="3894491069" sldId="617"/>
            <ac:spMk id="6" creationId="{2D8F3FCD-8B5B-4696-B96D-6F972D025CC3}"/>
          </ac:spMkLst>
        </pc:spChg>
        <pc:spChg chg="add del mod">
          <ac:chgData name="Daniel Valero" userId="31dd2ff7-9a08-462f-9096-6c487a317220" providerId="ADAL" clId="{13C66EB5-766D-4A69-8EF8-1B215228E3C9}" dt="2020-02-25T17:27:56.258" v="2664" actId="478"/>
          <ac:spMkLst>
            <pc:docMk/>
            <pc:sldMk cId="3894491069" sldId="617"/>
            <ac:spMk id="7" creationId="{969F47C3-47A1-4C6F-B6B9-4429DB141C5C}"/>
          </ac:spMkLst>
        </pc:spChg>
        <pc:spChg chg="add del">
          <ac:chgData name="Daniel Valero" userId="31dd2ff7-9a08-462f-9096-6c487a317220" providerId="ADAL" clId="{13C66EB5-766D-4A69-8EF8-1B215228E3C9}" dt="2020-02-25T15:06:27.629" v="2400" actId="478"/>
          <ac:spMkLst>
            <pc:docMk/>
            <pc:sldMk cId="3894491069" sldId="617"/>
            <ac:spMk id="8" creationId="{854C947D-473A-473B-9CBD-A56E67C4648E}"/>
          </ac:spMkLst>
        </pc:spChg>
        <pc:spChg chg="add del">
          <ac:chgData name="Daniel Valero" userId="31dd2ff7-9a08-462f-9096-6c487a317220" providerId="ADAL" clId="{13C66EB5-766D-4A69-8EF8-1B215228E3C9}" dt="2020-02-25T15:06:27.629" v="2400" actId="478"/>
          <ac:spMkLst>
            <pc:docMk/>
            <pc:sldMk cId="3894491069" sldId="617"/>
            <ac:spMk id="9" creationId="{D0573FE1-2EE3-4E25-A778-705D51EC52BF}"/>
          </ac:spMkLst>
        </pc:spChg>
        <pc:spChg chg="add del">
          <ac:chgData name="Daniel Valero" userId="31dd2ff7-9a08-462f-9096-6c487a317220" providerId="ADAL" clId="{13C66EB5-766D-4A69-8EF8-1B215228E3C9}" dt="2020-02-25T15:06:27.629" v="2400" actId="478"/>
          <ac:spMkLst>
            <pc:docMk/>
            <pc:sldMk cId="3894491069" sldId="617"/>
            <ac:spMk id="10" creationId="{9E8EE1C2-62A1-4CED-95EA-8B9EB7E19D9D}"/>
          </ac:spMkLst>
        </pc:spChg>
        <pc:spChg chg="add del">
          <ac:chgData name="Daniel Valero" userId="31dd2ff7-9a08-462f-9096-6c487a317220" providerId="ADAL" clId="{13C66EB5-766D-4A69-8EF8-1B215228E3C9}" dt="2020-02-25T15:06:36.829" v="2402" actId="478"/>
          <ac:spMkLst>
            <pc:docMk/>
            <pc:sldMk cId="3894491069" sldId="617"/>
            <ac:spMk id="11" creationId="{CFA313AC-206E-4FDB-B8D4-09B01BAF06CD}"/>
          </ac:spMkLst>
        </pc:spChg>
        <pc:spChg chg="add del">
          <ac:chgData name="Daniel Valero" userId="31dd2ff7-9a08-462f-9096-6c487a317220" providerId="ADAL" clId="{13C66EB5-766D-4A69-8EF8-1B215228E3C9}" dt="2020-02-25T15:06:36.829" v="2402" actId="478"/>
          <ac:spMkLst>
            <pc:docMk/>
            <pc:sldMk cId="3894491069" sldId="617"/>
            <ac:spMk id="12" creationId="{A413A7B6-66BF-4376-9D62-C00094B2A094}"/>
          </ac:spMkLst>
        </pc:spChg>
        <pc:spChg chg="add del">
          <ac:chgData name="Daniel Valero" userId="31dd2ff7-9a08-462f-9096-6c487a317220" providerId="ADAL" clId="{13C66EB5-766D-4A69-8EF8-1B215228E3C9}" dt="2020-02-25T15:06:36.829" v="2402" actId="478"/>
          <ac:spMkLst>
            <pc:docMk/>
            <pc:sldMk cId="3894491069" sldId="617"/>
            <ac:spMk id="13" creationId="{CF8D43C5-4430-40DA-B1DC-33961D382C07}"/>
          </ac:spMkLst>
        </pc:spChg>
        <pc:spChg chg="add del">
          <ac:chgData name="Daniel Valero" userId="31dd2ff7-9a08-462f-9096-6c487a317220" providerId="ADAL" clId="{13C66EB5-766D-4A69-8EF8-1B215228E3C9}" dt="2020-02-25T15:06:36.829" v="2402" actId="478"/>
          <ac:spMkLst>
            <pc:docMk/>
            <pc:sldMk cId="3894491069" sldId="617"/>
            <ac:spMk id="14" creationId="{94B637B5-4049-418F-B758-A672C10D36D9}"/>
          </ac:spMkLst>
        </pc:spChg>
        <pc:spChg chg="add del mod">
          <ac:chgData name="Daniel Valero" userId="31dd2ff7-9a08-462f-9096-6c487a317220" providerId="ADAL" clId="{13C66EB5-766D-4A69-8EF8-1B215228E3C9}" dt="2020-02-25T17:23:45.200" v="2608" actId="478"/>
          <ac:spMkLst>
            <pc:docMk/>
            <pc:sldMk cId="3894491069" sldId="617"/>
            <ac:spMk id="15" creationId="{CBD25A02-82B9-4340-974E-89834E9AE4EE}"/>
          </ac:spMkLst>
        </pc:spChg>
        <pc:spChg chg="add del mod">
          <ac:chgData name="Daniel Valero" userId="31dd2ff7-9a08-462f-9096-6c487a317220" providerId="ADAL" clId="{13C66EB5-766D-4A69-8EF8-1B215228E3C9}" dt="2020-02-25T17:23:52.224" v="2611" actId="478"/>
          <ac:spMkLst>
            <pc:docMk/>
            <pc:sldMk cId="3894491069" sldId="617"/>
            <ac:spMk id="17" creationId="{489A0049-7F01-401B-A0F6-55017244DB74}"/>
          </ac:spMkLst>
        </pc:spChg>
        <pc:spChg chg="add del mod">
          <ac:chgData name="Daniel Valero" userId="31dd2ff7-9a08-462f-9096-6c487a317220" providerId="ADAL" clId="{13C66EB5-766D-4A69-8EF8-1B215228E3C9}" dt="2020-02-25T17:28:07.076" v="2672" actId="478"/>
          <ac:spMkLst>
            <pc:docMk/>
            <pc:sldMk cId="3894491069" sldId="617"/>
            <ac:spMk id="19" creationId="{3F8B4484-A5F3-44A6-93FE-1457242A64FE}"/>
          </ac:spMkLst>
        </pc:spChg>
        <pc:spChg chg="add del mod">
          <ac:chgData name="Daniel Valero" userId="31dd2ff7-9a08-462f-9096-6c487a317220" providerId="ADAL" clId="{13C66EB5-766D-4A69-8EF8-1B215228E3C9}" dt="2020-02-25T17:28:05.507" v="2671" actId="478"/>
          <ac:spMkLst>
            <pc:docMk/>
            <pc:sldMk cId="3894491069" sldId="617"/>
            <ac:spMk id="20" creationId="{B31FF57A-BE28-4845-A959-442C74317B08}"/>
          </ac:spMkLst>
        </pc:spChg>
        <pc:spChg chg="add del">
          <ac:chgData name="Daniel Valero" userId="31dd2ff7-9a08-462f-9096-6c487a317220" providerId="ADAL" clId="{13C66EB5-766D-4A69-8EF8-1B215228E3C9}" dt="2020-02-25T17:23:41.500" v="2606"/>
          <ac:spMkLst>
            <pc:docMk/>
            <pc:sldMk cId="3894491069" sldId="617"/>
            <ac:spMk id="21" creationId="{68CFFFCB-D60C-4ABF-ACCF-1012776A578B}"/>
          </ac:spMkLst>
        </pc:spChg>
        <pc:spChg chg="add del mod">
          <ac:chgData name="Daniel Valero" userId="31dd2ff7-9a08-462f-9096-6c487a317220" providerId="ADAL" clId="{13C66EB5-766D-4A69-8EF8-1B215228E3C9}" dt="2020-02-25T17:28:04.628" v="2670" actId="478"/>
          <ac:spMkLst>
            <pc:docMk/>
            <pc:sldMk cId="3894491069" sldId="617"/>
            <ac:spMk id="22" creationId="{4A9F8B29-604A-4669-92D1-BA349880FD5F}"/>
          </ac:spMkLst>
        </pc:spChg>
        <pc:spChg chg="add mod ord">
          <ac:chgData name="Daniel Valero" userId="31dd2ff7-9a08-462f-9096-6c487a317220" providerId="ADAL" clId="{13C66EB5-766D-4A69-8EF8-1B215228E3C9}" dt="2020-02-25T17:30:38.695" v="2681" actId="790"/>
          <ac:spMkLst>
            <pc:docMk/>
            <pc:sldMk cId="3894491069" sldId="617"/>
            <ac:spMk id="24" creationId="{DE034EBD-3180-49C9-A72B-7FFAE4FCF0FA}"/>
          </ac:spMkLst>
        </pc:spChg>
        <pc:picChg chg="add del mod">
          <ac:chgData name="Daniel Valero" userId="31dd2ff7-9a08-462f-9096-6c487a317220" providerId="ADAL" clId="{13C66EB5-766D-4A69-8EF8-1B215228E3C9}" dt="2020-02-25T17:28:02.280" v="2668" actId="478"/>
          <ac:picMkLst>
            <pc:docMk/>
            <pc:sldMk cId="3894491069" sldId="617"/>
            <ac:picMk id="16" creationId="{A1948D66-D986-4C41-85D0-B9783B322996}"/>
          </ac:picMkLst>
        </pc:picChg>
        <pc:picChg chg="add del mod">
          <ac:chgData name="Daniel Valero" userId="31dd2ff7-9a08-462f-9096-6c487a317220" providerId="ADAL" clId="{13C66EB5-766D-4A69-8EF8-1B215228E3C9}" dt="2020-02-25T17:28:03.116" v="2669" actId="478"/>
          <ac:picMkLst>
            <pc:docMk/>
            <pc:sldMk cId="3894491069" sldId="617"/>
            <ac:picMk id="18" creationId="{A2EC7757-0C8A-49E7-A6DB-A49E4C791CFD}"/>
          </ac:picMkLst>
        </pc:picChg>
      </pc:sldChg>
      <pc:sldChg chg="addSp delSp modSp add mod delAnim modAnim modNotesTx">
        <pc:chgData name="Daniel Valero" userId="31dd2ff7-9a08-462f-9096-6c487a317220" providerId="ADAL" clId="{13C66EB5-766D-4A69-8EF8-1B215228E3C9}" dt="2020-02-25T17:01:22.789" v="2604" actId="790"/>
        <pc:sldMkLst>
          <pc:docMk/>
          <pc:sldMk cId="508126509" sldId="618"/>
        </pc:sldMkLst>
        <pc:spChg chg="del mod">
          <ac:chgData name="Daniel Valero" userId="31dd2ff7-9a08-462f-9096-6c487a317220" providerId="ADAL" clId="{13C66EB5-766D-4A69-8EF8-1B215228E3C9}" dt="2020-02-25T17:01:03.034" v="2559" actId="478"/>
          <ac:spMkLst>
            <pc:docMk/>
            <pc:sldMk cId="508126509" sldId="618"/>
            <ac:spMk id="2" creationId="{EB67312A-9819-43C6-8D84-D9136E6CFFCC}"/>
          </ac:spMkLst>
        </pc:spChg>
        <pc:spChg chg="del mod">
          <ac:chgData name="Daniel Valero" userId="31dd2ff7-9a08-462f-9096-6c487a317220" providerId="ADAL" clId="{13C66EB5-766D-4A69-8EF8-1B215228E3C9}" dt="2020-02-25T17:01:03.034" v="2559" actId="478"/>
          <ac:spMkLst>
            <pc:docMk/>
            <pc:sldMk cId="508126509" sldId="618"/>
            <ac:spMk id="3" creationId="{F35E8CBB-5A7D-4DEF-BAF7-8DD5D042F9E0}"/>
          </ac:spMkLst>
        </pc:spChg>
        <pc:spChg chg="add mod ord">
          <ac:chgData name="Daniel Valero" userId="31dd2ff7-9a08-462f-9096-6c487a317220" providerId="ADAL" clId="{13C66EB5-766D-4A69-8EF8-1B215228E3C9}" dt="2020-02-25T17:01:22.789" v="2604" actId="790"/>
          <ac:spMkLst>
            <pc:docMk/>
            <pc:sldMk cId="508126509" sldId="618"/>
            <ac:spMk id="5" creationId="{35622013-AD39-49E7-86B3-948ECEC8BF96}"/>
          </ac:spMkLst>
        </pc:spChg>
        <pc:spChg chg="del">
          <ac:chgData name="Daniel Valero" userId="31dd2ff7-9a08-462f-9096-6c487a317220" providerId="ADAL" clId="{13C66EB5-766D-4A69-8EF8-1B215228E3C9}" dt="2020-02-25T16:22:11.707" v="2434" actId="478"/>
          <ac:spMkLst>
            <pc:docMk/>
            <pc:sldMk cId="508126509" sldId="618"/>
            <ac:spMk id="7" creationId="{969F47C3-47A1-4C6F-B6B9-4429DB141C5C}"/>
          </ac:spMkLst>
        </pc:spChg>
        <pc:spChg chg="del">
          <ac:chgData name="Daniel Valero" userId="31dd2ff7-9a08-462f-9096-6c487a317220" providerId="ADAL" clId="{13C66EB5-766D-4A69-8EF8-1B215228E3C9}" dt="2020-02-25T16:22:05.732" v="2428" actId="478"/>
          <ac:spMkLst>
            <pc:docMk/>
            <pc:sldMk cId="508126509" sldId="618"/>
            <ac:spMk id="15" creationId="{CBD25A02-82B9-4340-974E-89834E9AE4EE}"/>
          </ac:spMkLst>
        </pc:spChg>
        <pc:spChg chg="del mod">
          <ac:chgData name="Daniel Valero" userId="31dd2ff7-9a08-462f-9096-6c487a317220" providerId="ADAL" clId="{13C66EB5-766D-4A69-8EF8-1B215228E3C9}" dt="2020-02-25T16:22:08.001" v="2432" actId="478"/>
          <ac:spMkLst>
            <pc:docMk/>
            <pc:sldMk cId="508126509" sldId="618"/>
            <ac:spMk id="17" creationId="{489A0049-7F01-401B-A0F6-55017244DB74}"/>
          </ac:spMkLst>
        </pc:spChg>
        <pc:spChg chg="del">
          <ac:chgData name="Daniel Valero" userId="31dd2ff7-9a08-462f-9096-6c487a317220" providerId="ADAL" clId="{13C66EB5-766D-4A69-8EF8-1B215228E3C9}" dt="2020-02-25T16:22:23.616" v="2439" actId="478"/>
          <ac:spMkLst>
            <pc:docMk/>
            <pc:sldMk cId="508126509" sldId="618"/>
            <ac:spMk id="19" creationId="{3F8B4484-A5F3-44A6-93FE-1457242A64FE}"/>
          </ac:spMkLst>
        </pc:spChg>
        <pc:spChg chg="del">
          <ac:chgData name="Daniel Valero" userId="31dd2ff7-9a08-462f-9096-6c487a317220" providerId="ADAL" clId="{13C66EB5-766D-4A69-8EF8-1B215228E3C9}" dt="2020-02-25T16:22:07.453" v="2431" actId="478"/>
          <ac:spMkLst>
            <pc:docMk/>
            <pc:sldMk cId="508126509" sldId="618"/>
            <ac:spMk id="20" creationId="{B31FF57A-BE28-4845-A959-442C74317B08}"/>
          </ac:spMkLst>
        </pc:spChg>
        <pc:spChg chg="add del">
          <ac:chgData name="Daniel Valero" userId="31dd2ff7-9a08-462f-9096-6c487a317220" providerId="ADAL" clId="{13C66EB5-766D-4A69-8EF8-1B215228E3C9}" dt="2020-02-25T16:24:44.403" v="2455"/>
          <ac:spMkLst>
            <pc:docMk/>
            <pc:sldMk cId="508126509" sldId="618"/>
            <ac:spMk id="21" creationId="{3A163248-8882-49B2-A6A1-8023E2A09787}"/>
          </ac:spMkLst>
        </pc:spChg>
        <pc:spChg chg="add del">
          <ac:chgData name="Daniel Valero" userId="31dd2ff7-9a08-462f-9096-6c487a317220" providerId="ADAL" clId="{13C66EB5-766D-4A69-8EF8-1B215228E3C9}" dt="2020-02-25T16:24:44.403" v="2455"/>
          <ac:spMkLst>
            <pc:docMk/>
            <pc:sldMk cId="508126509" sldId="618"/>
            <ac:spMk id="24" creationId="{580A2A7E-27DA-4C3D-860A-6CD5DF6CF649}"/>
          </ac:spMkLst>
        </pc:spChg>
        <pc:spChg chg="add del">
          <ac:chgData name="Daniel Valero" userId="31dd2ff7-9a08-462f-9096-6c487a317220" providerId="ADAL" clId="{13C66EB5-766D-4A69-8EF8-1B215228E3C9}" dt="2020-02-25T16:24:44.403" v="2455"/>
          <ac:spMkLst>
            <pc:docMk/>
            <pc:sldMk cId="508126509" sldId="618"/>
            <ac:spMk id="25" creationId="{B2AE5E93-DF97-4E69-AD6C-56C7F654937D}"/>
          </ac:spMkLst>
        </pc:spChg>
        <pc:spChg chg="add del">
          <ac:chgData name="Daniel Valero" userId="31dd2ff7-9a08-462f-9096-6c487a317220" providerId="ADAL" clId="{13C66EB5-766D-4A69-8EF8-1B215228E3C9}" dt="2020-02-25T16:24:44.403" v="2455"/>
          <ac:spMkLst>
            <pc:docMk/>
            <pc:sldMk cId="508126509" sldId="618"/>
            <ac:spMk id="26" creationId="{C42C05B3-5932-41C1-9674-EB2ED82BC983}"/>
          </ac:spMkLst>
        </pc:spChg>
        <pc:spChg chg="add del">
          <ac:chgData name="Daniel Valero" userId="31dd2ff7-9a08-462f-9096-6c487a317220" providerId="ADAL" clId="{13C66EB5-766D-4A69-8EF8-1B215228E3C9}" dt="2020-02-25T16:24:44.403" v="2455"/>
          <ac:spMkLst>
            <pc:docMk/>
            <pc:sldMk cId="508126509" sldId="618"/>
            <ac:spMk id="27" creationId="{64AC3AA2-9B16-454B-8612-C307217ECEB8}"/>
          </ac:spMkLst>
        </pc:spChg>
        <pc:spChg chg="add del">
          <ac:chgData name="Daniel Valero" userId="31dd2ff7-9a08-462f-9096-6c487a317220" providerId="ADAL" clId="{13C66EB5-766D-4A69-8EF8-1B215228E3C9}" dt="2020-02-25T16:24:44.403" v="2455"/>
          <ac:spMkLst>
            <pc:docMk/>
            <pc:sldMk cId="508126509" sldId="618"/>
            <ac:spMk id="28" creationId="{760143B3-3B48-4FE8-B80F-C62D8AC1F87A}"/>
          </ac:spMkLst>
        </pc:spChg>
        <pc:spChg chg="add del">
          <ac:chgData name="Daniel Valero" userId="31dd2ff7-9a08-462f-9096-6c487a317220" providerId="ADAL" clId="{13C66EB5-766D-4A69-8EF8-1B215228E3C9}" dt="2020-02-25T16:24:44.403" v="2455"/>
          <ac:spMkLst>
            <pc:docMk/>
            <pc:sldMk cId="508126509" sldId="618"/>
            <ac:spMk id="29" creationId="{FED96721-933E-4180-9F92-1CC5055374A8}"/>
          </ac:spMkLst>
        </pc:spChg>
        <pc:spChg chg="add del">
          <ac:chgData name="Daniel Valero" userId="31dd2ff7-9a08-462f-9096-6c487a317220" providerId="ADAL" clId="{13C66EB5-766D-4A69-8EF8-1B215228E3C9}" dt="2020-02-25T16:24:44.403" v="2455"/>
          <ac:spMkLst>
            <pc:docMk/>
            <pc:sldMk cId="508126509" sldId="618"/>
            <ac:spMk id="30" creationId="{32945D31-CBFF-4373-99C9-BB83E213FFFD}"/>
          </ac:spMkLst>
        </pc:spChg>
        <pc:spChg chg="add del">
          <ac:chgData name="Daniel Valero" userId="31dd2ff7-9a08-462f-9096-6c487a317220" providerId="ADAL" clId="{13C66EB5-766D-4A69-8EF8-1B215228E3C9}" dt="2020-02-25T16:24:44.403" v="2455"/>
          <ac:spMkLst>
            <pc:docMk/>
            <pc:sldMk cId="508126509" sldId="618"/>
            <ac:spMk id="31" creationId="{0A32E238-3F77-4FEE-9051-7EDB83A27036}"/>
          </ac:spMkLst>
        </pc:spChg>
        <pc:spChg chg="add del">
          <ac:chgData name="Daniel Valero" userId="31dd2ff7-9a08-462f-9096-6c487a317220" providerId="ADAL" clId="{13C66EB5-766D-4A69-8EF8-1B215228E3C9}" dt="2020-02-25T16:24:44.403" v="2455"/>
          <ac:spMkLst>
            <pc:docMk/>
            <pc:sldMk cId="508126509" sldId="618"/>
            <ac:spMk id="32" creationId="{9E246B13-19D8-4317-A8B3-9F8142531DD9}"/>
          </ac:spMkLst>
        </pc:spChg>
        <pc:spChg chg="add del">
          <ac:chgData name="Daniel Valero" userId="31dd2ff7-9a08-462f-9096-6c487a317220" providerId="ADAL" clId="{13C66EB5-766D-4A69-8EF8-1B215228E3C9}" dt="2020-02-25T16:24:44.403" v="2455"/>
          <ac:spMkLst>
            <pc:docMk/>
            <pc:sldMk cId="508126509" sldId="618"/>
            <ac:spMk id="33" creationId="{5F0D7057-9648-4FA8-A871-A08FC4B4C1AC}"/>
          </ac:spMkLst>
        </pc:spChg>
        <pc:spChg chg="add del">
          <ac:chgData name="Daniel Valero" userId="31dd2ff7-9a08-462f-9096-6c487a317220" providerId="ADAL" clId="{13C66EB5-766D-4A69-8EF8-1B215228E3C9}" dt="2020-02-25T16:24:44.403" v="2455"/>
          <ac:spMkLst>
            <pc:docMk/>
            <pc:sldMk cId="508126509" sldId="618"/>
            <ac:spMk id="34" creationId="{CAB22F78-9305-4F09-A8FD-BCB030F904F9}"/>
          </ac:spMkLst>
        </pc:spChg>
        <pc:spChg chg="add del">
          <ac:chgData name="Daniel Valero" userId="31dd2ff7-9a08-462f-9096-6c487a317220" providerId="ADAL" clId="{13C66EB5-766D-4A69-8EF8-1B215228E3C9}" dt="2020-02-25T16:24:44.403" v="2455"/>
          <ac:spMkLst>
            <pc:docMk/>
            <pc:sldMk cId="508126509" sldId="618"/>
            <ac:spMk id="35" creationId="{F21D6984-6676-45E7-9E20-8788EE52D012}"/>
          </ac:spMkLst>
        </pc:spChg>
        <pc:spChg chg="add del">
          <ac:chgData name="Daniel Valero" userId="31dd2ff7-9a08-462f-9096-6c487a317220" providerId="ADAL" clId="{13C66EB5-766D-4A69-8EF8-1B215228E3C9}" dt="2020-02-25T16:24:44.403" v="2455"/>
          <ac:spMkLst>
            <pc:docMk/>
            <pc:sldMk cId="508126509" sldId="618"/>
            <ac:spMk id="36" creationId="{260CC607-C47C-42F6-AC59-0F8D460FA31B}"/>
          </ac:spMkLst>
        </pc:spChg>
        <pc:spChg chg="add del">
          <ac:chgData name="Daniel Valero" userId="31dd2ff7-9a08-462f-9096-6c487a317220" providerId="ADAL" clId="{13C66EB5-766D-4A69-8EF8-1B215228E3C9}" dt="2020-02-25T16:24:44.403" v="2455"/>
          <ac:spMkLst>
            <pc:docMk/>
            <pc:sldMk cId="508126509" sldId="618"/>
            <ac:spMk id="37" creationId="{2B322AEC-78D8-48D5-9BC0-82A59F4D0350}"/>
          </ac:spMkLst>
        </pc:spChg>
        <pc:spChg chg="add del">
          <ac:chgData name="Daniel Valero" userId="31dd2ff7-9a08-462f-9096-6c487a317220" providerId="ADAL" clId="{13C66EB5-766D-4A69-8EF8-1B215228E3C9}" dt="2020-02-25T16:24:44.403" v="2455"/>
          <ac:spMkLst>
            <pc:docMk/>
            <pc:sldMk cId="508126509" sldId="618"/>
            <ac:spMk id="38" creationId="{E8484149-3738-4420-A0E0-2CD7679FB767}"/>
          </ac:spMkLst>
        </pc:spChg>
        <pc:spChg chg="add del">
          <ac:chgData name="Daniel Valero" userId="31dd2ff7-9a08-462f-9096-6c487a317220" providerId="ADAL" clId="{13C66EB5-766D-4A69-8EF8-1B215228E3C9}" dt="2020-02-25T16:24:44.403" v="2455"/>
          <ac:spMkLst>
            <pc:docMk/>
            <pc:sldMk cId="508126509" sldId="618"/>
            <ac:spMk id="39" creationId="{ECEA06E7-25D4-46A6-AD63-523FECA6BAB3}"/>
          </ac:spMkLst>
        </pc:spChg>
        <pc:spChg chg="add del">
          <ac:chgData name="Daniel Valero" userId="31dd2ff7-9a08-462f-9096-6c487a317220" providerId="ADAL" clId="{13C66EB5-766D-4A69-8EF8-1B215228E3C9}" dt="2020-02-25T16:24:44.403" v="2455"/>
          <ac:spMkLst>
            <pc:docMk/>
            <pc:sldMk cId="508126509" sldId="618"/>
            <ac:spMk id="40" creationId="{C280715F-F761-4E4D-ABF6-C4B15FADC4C7}"/>
          </ac:spMkLst>
        </pc:spChg>
        <pc:spChg chg="add del">
          <ac:chgData name="Daniel Valero" userId="31dd2ff7-9a08-462f-9096-6c487a317220" providerId="ADAL" clId="{13C66EB5-766D-4A69-8EF8-1B215228E3C9}" dt="2020-02-25T16:24:44.403" v="2455"/>
          <ac:spMkLst>
            <pc:docMk/>
            <pc:sldMk cId="508126509" sldId="618"/>
            <ac:spMk id="41" creationId="{563EDF93-A9C4-41F1-B604-F8A7B7AF19A8}"/>
          </ac:spMkLst>
        </pc:spChg>
        <pc:spChg chg="add del">
          <ac:chgData name="Daniel Valero" userId="31dd2ff7-9a08-462f-9096-6c487a317220" providerId="ADAL" clId="{13C66EB5-766D-4A69-8EF8-1B215228E3C9}" dt="2020-02-25T16:24:44.403" v="2455"/>
          <ac:spMkLst>
            <pc:docMk/>
            <pc:sldMk cId="508126509" sldId="618"/>
            <ac:spMk id="42" creationId="{F86E2C99-AC52-419C-A5E3-5D7338179FC0}"/>
          </ac:spMkLst>
        </pc:spChg>
        <pc:spChg chg="add mod">
          <ac:chgData name="Daniel Valero" userId="31dd2ff7-9a08-462f-9096-6c487a317220" providerId="ADAL" clId="{13C66EB5-766D-4A69-8EF8-1B215228E3C9}" dt="2020-02-25T17:01:22.789" v="2604" actId="790"/>
          <ac:spMkLst>
            <pc:docMk/>
            <pc:sldMk cId="508126509" sldId="618"/>
            <ac:spMk id="45" creationId="{713C2539-6321-4B50-B6DF-7905494F52A8}"/>
          </ac:spMkLst>
        </pc:spChg>
        <pc:spChg chg="add mod">
          <ac:chgData name="Daniel Valero" userId="31dd2ff7-9a08-462f-9096-6c487a317220" providerId="ADAL" clId="{13C66EB5-766D-4A69-8EF8-1B215228E3C9}" dt="2020-02-25T17:01:22.789" v="2604" actId="790"/>
          <ac:spMkLst>
            <pc:docMk/>
            <pc:sldMk cId="508126509" sldId="618"/>
            <ac:spMk id="48" creationId="{3682B2F3-AEB1-4A66-8D0C-B4BCB23D0C7B}"/>
          </ac:spMkLst>
        </pc:spChg>
        <pc:spChg chg="add mod">
          <ac:chgData name="Daniel Valero" userId="31dd2ff7-9a08-462f-9096-6c487a317220" providerId="ADAL" clId="{13C66EB5-766D-4A69-8EF8-1B215228E3C9}" dt="2020-02-25T17:01:22.789" v="2604" actId="790"/>
          <ac:spMkLst>
            <pc:docMk/>
            <pc:sldMk cId="508126509" sldId="618"/>
            <ac:spMk id="49" creationId="{BE91BDAD-9E00-46E3-81D6-547C19D238C5}"/>
          </ac:spMkLst>
        </pc:spChg>
        <pc:spChg chg="add mod">
          <ac:chgData name="Daniel Valero" userId="31dd2ff7-9a08-462f-9096-6c487a317220" providerId="ADAL" clId="{13C66EB5-766D-4A69-8EF8-1B215228E3C9}" dt="2020-02-25T17:01:22.789" v="2604" actId="790"/>
          <ac:spMkLst>
            <pc:docMk/>
            <pc:sldMk cId="508126509" sldId="618"/>
            <ac:spMk id="50" creationId="{960B5702-E38C-4C67-91F9-CB62DE0CE17A}"/>
          </ac:spMkLst>
        </pc:spChg>
        <pc:spChg chg="add mod">
          <ac:chgData name="Daniel Valero" userId="31dd2ff7-9a08-462f-9096-6c487a317220" providerId="ADAL" clId="{13C66EB5-766D-4A69-8EF8-1B215228E3C9}" dt="2020-02-25T17:01:22.789" v="2604" actId="790"/>
          <ac:spMkLst>
            <pc:docMk/>
            <pc:sldMk cId="508126509" sldId="618"/>
            <ac:spMk id="51" creationId="{844FF21F-9290-4A02-B225-5D06B1706572}"/>
          </ac:spMkLst>
        </pc:spChg>
        <pc:spChg chg="add mod">
          <ac:chgData name="Daniel Valero" userId="31dd2ff7-9a08-462f-9096-6c487a317220" providerId="ADAL" clId="{13C66EB5-766D-4A69-8EF8-1B215228E3C9}" dt="2020-02-25T17:01:22.789" v="2604" actId="790"/>
          <ac:spMkLst>
            <pc:docMk/>
            <pc:sldMk cId="508126509" sldId="618"/>
            <ac:spMk id="52" creationId="{43F1A2B2-1BCC-4944-99E9-01F2244FDF91}"/>
          </ac:spMkLst>
        </pc:spChg>
        <pc:spChg chg="add mod">
          <ac:chgData name="Daniel Valero" userId="31dd2ff7-9a08-462f-9096-6c487a317220" providerId="ADAL" clId="{13C66EB5-766D-4A69-8EF8-1B215228E3C9}" dt="2020-02-25T17:01:22.789" v="2604" actId="790"/>
          <ac:spMkLst>
            <pc:docMk/>
            <pc:sldMk cId="508126509" sldId="618"/>
            <ac:spMk id="53" creationId="{3403C397-13DE-4B9D-BE89-13492AF2100A}"/>
          </ac:spMkLst>
        </pc:spChg>
        <pc:spChg chg="add mod">
          <ac:chgData name="Daniel Valero" userId="31dd2ff7-9a08-462f-9096-6c487a317220" providerId="ADAL" clId="{13C66EB5-766D-4A69-8EF8-1B215228E3C9}" dt="2020-02-25T17:01:22.789" v="2604" actId="790"/>
          <ac:spMkLst>
            <pc:docMk/>
            <pc:sldMk cId="508126509" sldId="618"/>
            <ac:spMk id="54" creationId="{4E009345-05D5-47BA-8C16-8F2D9144DAAE}"/>
          </ac:spMkLst>
        </pc:spChg>
        <pc:spChg chg="add mod">
          <ac:chgData name="Daniel Valero" userId="31dd2ff7-9a08-462f-9096-6c487a317220" providerId="ADAL" clId="{13C66EB5-766D-4A69-8EF8-1B215228E3C9}" dt="2020-02-25T17:01:22.789" v="2604" actId="790"/>
          <ac:spMkLst>
            <pc:docMk/>
            <pc:sldMk cId="508126509" sldId="618"/>
            <ac:spMk id="55" creationId="{7A1C08B5-8F85-46B6-9F38-0D8F93C65596}"/>
          </ac:spMkLst>
        </pc:spChg>
        <pc:spChg chg="add mod">
          <ac:chgData name="Daniel Valero" userId="31dd2ff7-9a08-462f-9096-6c487a317220" providerId="ADAL" clId="{13C66EB5-766D-4A69-8EF8-1B215228E3C9}" dt="2020-02-25T17:01:22.789" v="2604" actId="790"/>
          <ac:spMkLst>
            <pc:docMk/>
            <pc:sldMk cId="508126509" sldId="618"/>
            <ac:spMk id="56" creationId="{3E742FCE-A3FD-4E63-A3F5-0B488925102C}"/>
          </ac:spMkLst>
        </pc:spChg>
        <pc:spChg chg="add mod">
          <ac:chgData name="Daniel Valero" userId="31dd2ff7-9a08-462f-9096-6c487a317220" providerId="ADAL" clId="{13C66EB5-766D-4A69-8EF8-1B215228E3C9}" dt="2020-02-25T17:01:22.789" v="2604" actId="790"/>
          <ac:spMkLst>
            <pc:docMk/>
            <pc:sldMk cId="508126509" sldId="618"/>
            <ac:spMk id="57" creationId="{1BEBD550-8228-458D-8D48-A68DF2E2C6E2}"/>
          </ac:spMkLst>
        </pc:spChg>
        <pc:spChg chg="add mod">
          <ac:chgData name="Daniel Valero" userId="31dd2ff7-9a08-462f-9096-6c487a317220" providerId="ADAL" clId="{13C66EB5-766D-4A69-8EF8-1B215228E3C9}" dt="2020-02-25T17:01:22.789" v="2604" actId="790"/>
          <ac:spMkLst>
            <pc:docMk/>
            <pc:sldMk cId="508126509" sldId="618"/>
            <ac:spMk id="58" creationId="{265477B7-89C5-4BD8-AB9C-AB555B57D6D7}"/>
          </ac:spMkLst>
        </pc:spChg>
        <pc:spChg chg="add mod">
          <ac:chgData name="Daniel Valero" userId="31dd2ff7-9a08-462f-9096-6c487a317220" providerId="ADAL" clId="{13C66EB5-766D-4A69-8EF8-1B215228E3C9}" dt="2020-02-25T17:01:22.789" v="2604" actId="790"/>
          <ac:spMkLst>
            <pc:docMk/>
            <pc:sldMk cId="508126509" sldId="618"/>
            <ac:spMk id="59" creationId="{CB59F8C6-0F40-4F3D-880C-205EB5454517}"/>
          </ac:spMkLst>
        </pc:spChg>
        <pc:spChg chg="add mod">
          <ac:chgData name="Daniel Valero" userId="31dd2ff7-9a08-462f-9096-6c487a317220" providerId="ADAL" clId="{13C66EB5-766D-4A69-8EF8-1B215228E3C9}" dt="2020-02-25T17:01:22.789" v="2604" actId="790"/>
          <ac:spMkLst>
            <pc:docMk/>
            <pc:sldMk cId="508126509" sldId="618"/>
            <ac:spMk id="60" creationId="{9B6A7B81-CD87-47D1-9723-F5106ADE7681}"/>
          </ac:spMkLst>
        </pc:spChg>
        <pc:spChg chg="add mod">
          <ac:chgData name="Daniel Valero" userId="31dd2ff7-9a08-462f-9096-6c487a317220" providerId="ADAL" clId="{13C66EB5-766D-4A69-8EF8-1B215228E3C9}" dt="2020-02-25T17:01:22.789" v="2604" actId="790"/>
          <ac:spMkLst>
            <pc:docMk/>
            <pc:sldMk cId="508126509" sldId="618"/>
            <ac:spMk id="61" creationId="{4774679D-07B2-4D75-BADC-7D551AF04247}"/>
          </ac:spMkLst>
        </pc:spChg>
        <pc:spChg chg="add mod">
          <ac:chgData name="Daniel Valero" userId="31dd2ff7-9a08-462f-9096-6c487a317220" providerId="ADAL" clId="{13C66EB5-766D-4A69-8EF8-1B215228E3C9}" dt="2020-02-25T17:01:22.789" v="2604" actId="790"/>
          <ac:spMkLst>
            <pc:docMk/>
            <pc:sldMk cId="508126509" sldId="618"/>
            <ac:spMk id="62" creationId="{AC83966A-B276-4AE8-95F9-3AD4130F84E8}"/>
          </ac:spMkLst>
        </pc:spChg>
        <pc:spChg chg="add mod">
          <ac:chgData name="Daniel Valero" userId="31dd2ff7-9a08-462f-9096-6c487a317220" providerId="ADAL" clId="{13C66EB5-766D-4A69-8EF8-1B215228E3C9}" dt="2020-02-25T17:01:22.789" v="2604" actId="790"/>
          <ac:spMkLst>
            <pc:docMk/>
            <pc:sldMk cId="508126509" sldId="618"/>
            <ac:spMk id="63" creationId="{E733ADE8-00C8-4F4A-97C6-584F2E02292A}"/>
          </ac:spMkLst>
        </pc:spChg>
        <pc:spChg chg="add mod">
          <ac:chgData name="Daniel Valero" userId="31dd2ff7-9a08-462f-9096-6c487a317220" providerId="ADAL" clId="{13C66EB5-766D-4A69-8EF8-1B215228E3C9}" dt="2020-02-25T17:01:22.789" v="2604" actId="790"/>
          <ac:spMkLst>
            <pc:docMk/>
            <pc:sldMk cId="508126509" sldId="618"/>
            <ac:spMk id="64" creationId="{9BCB9B6A-EDFC-4144-9589-6534D2675055}"/>
          </ac:spMkLst>
        </pc:spChg>
        <pc:spChg chg="add mod">
          <ac:chgData name="Daniel Valero" userId="31dd2ff7-9a08-462f-9096-6c487a317220" providerId="ADAL" clId="{13C66EB5-766D-4A69-8EF8-1B215228E3C9}" dt="2020-02-25T17:01:22.789" v="2604" actId="790"/>
          <ac:spMkLst>
            <pc:docMk/>
            <pc:sldMk cId="508126509" sldId="618"/>
            <ac:spMk id="65" creationId="{5DFEAFD2-8E0B-4252-A3F0-ACC97CB145E6}"/>
          </ac:spMkLst>
        </pc:spChg>
        <pc:spChg chg="add mod">
          <ac:chgData name="Daniel Valero" userId="31dd2ff7-9a08-462f-9096-6c487a317220" providerId="ADAL" clId="{13C66EB5-766D-4A69-8EF8-1B215228E3C9}" dt="2020-02-25T17:01:22.789" v="2604" actId="790"/>
          <ac:spMkLst>
            <pc:docMk/>
            <pc:sldMk cId="508126509" sldId="618"/>
            <ac:spMk id="66" creationId="{B99775AE-9318-4C07-B75D-8142D0524C45}"/>
          </ac:spMkLst>
        </pc:spChg>
        <pc:spChg chg="add mod">
          <ac:chgData name="Daniel Valero" userId="31dd2ff7-9a08-462f-9096-6c487a317220" providerId="ADAL" clId="{13C66EB5-766D-4A69-8EF8-1B215228E3C9}" dt="2020-02-25T17:01:22.789" v="2604" actId="790"/>
          <ac:spMkLst>
            <pc:docMk/>
            <pc:sldMk cId="508126509" sldId="618"/>
            <ac:spMk id="77" creationId="{218170EA-FC49-4B9F-9D24-57ECE5E5BE05}"/>
          </ac:spMkLst>
        </pc:spChg>
        <pc:spChg chg="add mod">
          <ac:chgData name="Daniel Valero" userId="31dd2ff7-9a08-462f-9096-6c487a317220" providerId="ADAL" clId="{13C66EB5-766D-4A69-8EF8-1B215228E3C9}" dt="2020-02-25T17:01:22.789" v="2604" actId="790"/>
          <ac:spMkLst>
            <pc:docMk/>
            <pc:sldMk cId="508126509" sldId="618"/>
            <ac:spMk id="79" creationId="{5DAF4622-1D1F-4D18-B568-986EE844BCDF}"/>
          </ac:spMkLst>
        </pc:spChg>
        <pc:grpChg chg="add mod">
          <ac:chgData name="Daniel Valero" userId="31dd2ff7-9a08-462f-9096-6c487a317220" providerId="ADAL" clId="{13C66EB5-766D-4A69-8EF8-1B215228E3C9}" dt="2020-02-25T16:58:56.373" v="2534" actId="164"/>
          <ac:grpSpMkLst>
            <pc:docMk/>
            <pc:sldMk cId="508126509" sldId="618"/>
            <ac:grpSpMk id="70" creationId="{60B68641-40BF-42BE-BE09-BE510B978997}"/>
          </ac:grpSpMkLst>
        </pc:grpChg>
        <pc:grpChg chg="add mod">
          <ac:chgData name="Daniel Valero" userId="31dd2ff7-9a08-462f-9096-6c487a317220" providerId="ADAL" clId="{13C66EB5-766D-4A69-8EF8-1B215228E3C9}" dt="2020-02-25T16:58:56.373" v="2534" actId="164"/>
          <ac:grpSpMkLst>
            <pc:docMk/>
            <pc:sldMk cId="508126509" sldId="618"/>
            <ac:grpSpMk id="71" creationId="{BAD4FF2D-3DF1-45F9-9F9A-37360A932964}"/>
          </ac:grpSpMkLst>
        </pc:grpChg>
        <pc:grpChg chg="add mod">
          <ac:chgData name="Daniel Valero" userId="31dd2ff7-9a08-462f-9096-6c487a317220" providerId="ADAL" clId="{13C66EB5-766D-4A69-8EF8-1B215228E3C9}" dt="2020-02-25T16:58:56.373" v="2534" actId="164"/>
          <ac:grpSpMkLst>
            <pc:docMk/>
            <pc:sldMk cId="508126509" sldId="618"/>
            <ac:grpSpMk id="72" creationId="{3AC898B8-89C4-4B77-B382-C0B0CC436AF2}"/>
          </ac:grpSpMkLst>
        </pc:grpChg>
        <pc:grpChg chg="add mod">
          <ac:chgData name="Daniel Valero" userId="31dd2ff7-9a08-462f-9096-6c487a317220" providerId="ADAL" clId="{13C66EB5-766D-4A69-8EF8-1B215228E3C9}" dt="2020-02-25T16:58:56.373" v="2534" actId="164"/>
          <ac:grpSpMkLst>
            <pc:docMk/>
            <pc:sldMk cId="508126509" sldId="618"/>
            <ac:grpSpMk id="73" creationId="{997983ED-F273-4B12-8BD9-D94635F57F61}"/>
          </ac:grpSpMkLst>
        </pc:grpChg>
        <pc:grpChg chg="add mod">
          <ac:chgData name="Daniel Valero" userId="31dd2ff7-9a08-462f-9096-6c487a317220" providerId="ADAL" clId="{13C66EB5-766D-4A69-8EF8-1B215228E3C9}" dt="2020-02-25T16:58:56.373" v="2534" actId="164"/>
          <ac:grpSpMkLst>
            <pc:docMk/>
            <pc:sldMk cId="508126509" sldId="618"/>
            <ac:grpSpMk id="74" creationId="{69DF7063-04A2-4E40-B7B7-9297BF8B3542}"/>
          </ac:grpSpMkLst>
        </pc:grpChg>
        <pc:grpChg chg="add mod ord">
          <ac:chgData name="Daniel Valero" userId="31dd2ff7-9a08-462f-9096-6c487a317220" providerId="ADAL" clId="{13C66EB5-766D-4A69-8EF8-1B215228E3C9}" dt="2020-02-25T16:59:13.406" v="2538" actId="167"/>
          <ac:grpSpMkLst>
            <pc:docMk/>
            <pc:sldMk cId="508126509" sldId="618"/>
            <ac:grpSpMk id="75" creationId="{2E46A7FA-819E-4EDF-918B-CCA0CD78F49E}"/>
          </ac:grpSpMkLst>
        </pc:grpChg>
        <pc:picChg chg="del">
          <ac:chgData name="Daniel Valero" userId="31dd2ff7-9a08-462f-9096-6c487a317220" providerId="ADAL" clId="{13C66EB5-766D-4A69-8EF8-1B215228E3C9}" dt="2020-02-25T16:22:06.474" v="2429" actId="478"/>
          <ac:picMkLst>
            <pc:docMk/>
            <pc:sldMk cId="508126509" sldId="618"/>
            <ac:picMk id="16" creationId="{A1948D66-D986-4C41-85D0-B9783B322996}"/>
          </ac:picMkLst>
        </pc:picChg>
        <pc:picChg chg="del">
          <ac:chgData name="Daniel Valero" userId="31dd2ff7-9a08-462f-9096-6c487a317220" providerId="ADAL" clId="{13C66EB5-766D-4A69-8EF8-1B215228E3C9}" dt="2020-02-25T16:22:08.560" v="2433" actId="478"/>
          <ac:picMkLst>
            <pc:docMk/>
            <pc:sldMk cId="508126509" sldId="618"/>
            <ac:picMk id="18" creationId="{A2EC7757-0C8A-49E7-A6DB-A49E4C791CFD}"/>
          </ac:picMkLst>
        </pc:picChg>
        <pc:cxnChg chg="add del">
          <ac:chgData name="Daniel Valero" userId="31dd2ff7-9a08-462f-9096-6c487a317220" providerId="ADAL" clId="{13C66EB5-766D-4A69-8EF8-1B215228E3C9}" dt="2020-02-25T16:24:44.403" v="2455"/>
          <ac:cxnSpMkLst>
            <pc:docMk/>
            <pc:sldMk cId="508126509" sldId="618"/>
            <ac:cxnSpMk id="13" creationId="{94C30034-46ED-4160-A5A6-C82A3AD7D7BF}"/>
          </ac:cxnSpMkLst>
        </pc:cxnChg>
        <pc:cxnChg chg="add del">
          <ac:chgData name="Daniel Valero" userId="31dd2ff7-9a08-462f-9096-6c487a317220" providerId="ADAL" clId="{13C66EB5-766D-4A69-8EF8-1B215228E3C9}" dt="2020-02-25T16:24:44.403" v="2455"/>
          <ac:cxnSpMkLst>
            <pc:docMk/>
            <pc:sldMk cId="508126509" sldId="618"/>
            <ac:cxnSpMk id="14" creationId="{7D447E76-09A2-4457-A737-30203856CB60}"/>
          </ac:cxnSpMkLst>
        </pc:cxnChg>
        <pc:cxnChg chg="add del">
          <ac:chgData name="Daniel Valero" userId="31dd2ff7-9a08-462f-9096-6c487a317220" providerId="ADAL" clId="{13C66EB5-766D-4A69-8EF8-1B215228E3C9}" dt="2020-02-25T16:24:44.403" v="2455"/>
          <ac:cxnSpMkLst>
            <pc:docMk/>
            <pc:sldMk cId="508126509" sldId="618"/>
            <ac:cxnSpMk id="22" creationId="{983C73A9-4D6A-419E-8AB5-32173E27F47C}"/>
          </ac:cxnSpMkLst>
        </pc:cxnChg>
        <pc:cxnChg chg="add del">
          <ac:chgData name="Daniel Valero" userId="31dd2ff7-9a08-462f-9096-6c487a317220" providerId="ADAL" clId="{13C66EB5-766D-4A69-8EF8-1B215228E3C9}" dt="2020-02-25T16:24:44.403" v="2455"/>
          <ac:cxnSpMkLst>
            <pc:docMk/>
            <pc:sldMk cId="508126509" sldId="618"/>
            <ac:cxnSpMk id="23" creationId="{9A327BEA-F819-4C87-BB04-8D2403A1E80A}"/>
          </ac:cxnSpMkLst>
        </pc:cxnChg>
        <pc:cxnChg chg="add mod">
          <ac:chgData name="Daniel Valero" userId="31dd2ff7-9a08-462f-9096-6c487a317220" providerId="ADAL" clId="{13C66EB5-766D-4A69-8EF8-1B215228E3C9}" dt="2020-02-25T16:58:56.373" v="2534" actId="164"/>
          <ac:cxnSpMkLst>
            <pc:docMk/>
            <pc:sldMk cId="508126509" sldId="618"/>
            <ac:cxnSpMk id="43" creationId="{070D6CE5-4F9E-44BC-A783-DFBBF89D3934}"/>
          </ac:cxnSpMkLst>
        </pc:cxnChg>
        <pc:cxnChg chg="add mod">
          <ac:chgData name="Daniel Valero" userId="31dd2ff7-9a08-462f-9096-6c487a317220" providerId="ADAL" clId="{13C66EB5-766D-4A69-8EF8-1B215228E3C9}" dt="2020-02-25T16:58:56.373" v="2534" actId="164"/>
          <ac:cxnSpMkLst>
            <pc:docMk/>
            <pc:sldMk cId="508126509" sldId="618"/>
            <ac:cxnSpMk id="44" creationId="{213134DF-3638-47D1-8CEC-0196AC8C346E}"/>
          </ac:cxnSpMkLst>
        </pc:cxnChg>
        <pc:cxnChg chg="add mod">
          <ac:chgData name="Daniel Valero" userId="31dd2ff7-9a08-462f-9096-6c487a317220" providerId="ADAL" clId="{13C66EB5-766D-4A69-8EF8-1B215228E3C9}" dt="2020-02-25T16:58:56.373" v="2534" actId="164"/>
          <ac:cxnSpMkLst>
            <pc:docMk/>
            <pc:sldMk cId="508126509" sldId="618"/>
            <ac:cxnSpMk id="46" creationId="{54547778-B203-4895-A55B-45AE5AF61174}"/>
          </ac:cxnSpMkLst>
        </pc:cxnChg>
        <pc:cxnChg chg="add mod">
          <ac:chgData name="Daniel Valero" userId="31dd2ff7-9a08-462f-9096-6c487a317220" providerId="ADAL" clId="{13C66EB5-766D-4A69-8EF8-1B215228E3C9}" dt="2020-02-25T16:58:56.373" v="2534" actId="164"/>
          <ac:cxnSpMkLst>
            <pc:docMk/>
            <pc:sldMk cId="508126509" sldId="618"/>
            <ac:cxnSpMk id="47" creationId="{23951D6D-28E7-4942-BEB1-95CB920EBD65}"/>
          </ac:cxnSpMkLst>
        </pc:cxnChg>
      </pc:sldChg>
      <pc:sldChg chg="addSp delSp modSp add mod modNotesTx">
        <pc:chgData name="Daniel Valero" userId="31dd2ff7-9a08-462f-9096-6c487a317220" providerId="ADAL" clId="{13C66EB5-766D-4A69-8EF8-1B215228E3C9}" dt="2020-02-25T17:28:13.290" v="2674" actId="6549"/>
        <pc:sldMkLst>
          <pc:docMk/>
          <pc:sldMk cId="2202142392" sldId="619"/>
        </pc:sldMkLst>
        <pc:spChg chg="mod">
          <ac:chgData name="Daniel Valero" userId="31dd2ff7-9a08-462f-9096-6c487a317220" providerId="ADAL" clId="{13C66EB5-766D-4A69-8EF8-1B215228E3C9}" dt="2020-02-25T17:27:50.865" v="2663" actId="20577"/>
          <ac:spMkLst>
            <pc:docMk/>
            <pc:sldMk cId="2202142392" sldId="619"/>
            <ac:spMk id="3" creationId="{F35E8CBB-5A7D-4DEF-BAF7-8DD5D042F9E0}"/>
          </ac:spMkLst>
        </pc:spChg>
        <pc:spChg chg="add del mod">
          <ac:chgData name="Daniel Valero" userId="31dd2ff7-9a08-462f-9096-6c487a317220" providerId="ADAL" clId="{13C66EB5-766D-4A69-8EF8-1B215228E3C9}" dt="2020-02-25T17:26:49.634" v="2631" actId="478"/>
          <ac:spMkLst>
            <pc:docMk/>
            <pc:sldMk cId="2202142392" sldId="619"/>
            <ac:spMk id="5" creationId="{9D81BF84-EF6A-43FC-A4FF-DE66259DA239}"/>
          </ac:spMkLst>
        </pc:spChg>
        <pc:spChg chg="del">
          <ac:chgData name="Daniel Valero" userId="31dd2ff7-9a08-462f-9096-6c487a317220" providerId="ADAL" clId="{13C66EB5-766D-4A69-8EF8-1B215228E3C9}" dt="2020-02-25T17:26:48.201" v="2630" actId="478"/>
          <ac:spMkLst>
            <pc:docMk/>
            <pc:sldMk cId="2202142392" sldId="619"/>
            <ac:spMk id="7" creationId="{969F47C3-47A1-4C6F-B6B9-4429DB141C5C}"/>
          </ac:spMkLst>
        </pc:spChg>
        <pc:spChg chg="mod">
          <ac:chgData name="Daniel Valero" userId="31dd2ff7-9a08-462f-9096-6c487a317220" providerId="ADAL" clId="{13C66EB5-766D-4A69-8EF8-1B215228E3C9}" dt="2020-02-25T17:27:16.735" v="2637" actId="14100"/>
          <ac:spMkLst>
            <pc:docMk/>
            <pc:sldMk cId="2202142392" sldId="619"/>
            <ac:spMk id="15" creationId="{CBD25A02-82B9-4340-974E-89834E9AE4EE}"/>
          </ac:spMkLst>
        </pc:spChg>
        <pc:spChg chg="mod">
          <ac:chgData name="Daniel Valero" userId="31dd2ff7-9a08-462f-9096-6c487a317220" providerId="ADAL" clId="{13C66EB5-766D-4A69-8EF8-1B215228E3C9}" dt="2020-02-25T17:27:29.264" v="2640" actId="1076"/>
          <ac:spMkLst>
            <pc:docMk/>
            <pc:sldMk cId="2202142392" sldId="619"/>
            <ac:spMk id="17" creationId="{489A0049-7F01-401B-A0F6-55017244DB74}"/>
          </ac:spMkLst>
        </pc:spChg>
        <pc:spChg chg="mod">
          <ac:chgData name="Daniel Valero" userId="31dd2ff7-9a08-462f-9096-6c487a317220" providerId="ADAL" clId="{13C66EB5-766D-4A69-8EF8-1B215228E3C9}" dt="2020-02-25T17:27:45.178" v="2645" actId="1076"/>
          <ac:spMkLst>
            <pc:docMk/>
            <pc:sldMk cId="2202142392" sldId="619"/>
            <ac:spMk id="19" creationId="{3F8B4484-A5F3-44A6-93FE-1457242A64FE}"/>
          </ac:spMkLst>
        </pc:spChg>
        <pc:spChg chg="mod">
          <ac:chgData name="Daniel Valero" userId="31dd2ff7-9a08-462f-9096-6c487a317220" providerId="ADAL" clId="{13C66EB5-766D-4A69-8EF8-1B215228E3C9}" dt="2020-02-25T17:27:41.946" v="2644" actId="1076"/>
          <ac:spMkLst>
            <pc:docMk/>
            <pc:sldMk cId="2202142392" sldId="619"/>
            <ac:spMk id="20" creationId="{B31FF57A-BE28-4845-A959-442C74317B08}"/>
          </ac:spMkLst>
        </pc:spChg>
        <pc:picChg chg="mod">
          <ac:chgData name="Daniel Valero" userId="31dd2ff7-9a08-462f-9096-6c487a317220" providerId="ADAL" clId="{13C66EB5-766D-4A69-8EF8-1B215228E3C9}" dt="2020-02-25T17:27:31.408" v="2641" actId="1076"/>
          <ac:picMkLst>
            <pc:docMk/>
            <pc:sldMk cId="2202142392" sldId="619"/>
            <ac:picMk id="16" creationId="{A1948D66-D986-4C41-85D0-B9783B322996}"/>
          </ac:picMkLst>
        </pc:picChg>
      </pc:sldChg>
      <pc:sldChg chg="modSp add mod modNotesTx">
        <pc:chgData name="Daniel Valero" userId="31dd2ff7-9a08-462f-9096-6c487a317220" providerId="ADAL" clId="{13C66EB5-766D-4A69-8EF8-1B215228E3C9}" dt="2020-02-25T17:39:43.259" v="3066" actId="20577"/>
        <pc:sldMkLst>
          <pc:docMk/>
          <pc:sldMk cId="4286818092" sldId="620"/>
        </pc:sldMkLst>
        <pc:spChg chg="mod">
          <ac:chgData name="Daniel Valero" userId="31dd2ff7-9a08-462f-9096-6c487a317220" providerId="ADAL" clId="{13C66EB5-766D-4A69-8EF8-1B215228E3C9}" dt="2020-02-25T17:32:02.927" v="2750" actId="20577"/>
          <ac:spMkLst>
            <pc:docMk/>
            <pc:sldMk cId="4286818092" sldId="620"/>
            <ac:spMk id="3" creationId="{F35E8CBB-5A7D-4DEF-BAF7-8DD5D042F9E0}"/>
          </ac:spMkLst>
        </pc:spChg>
        <pc:spChg chg="mod">
          <ac:chgData name="Daniel Valero" userId="31dd2ff7-9a08-462f-9096-6c487a317220" providerId="ADAL" clId="{13C66EB5-766D-4A69-8EF8-1B215228E3C9}" dt="2020-02-25T17:39:43.259" v="3066" actId="20577"/>
          <ac:spMkLst>
            <pc:docMk/>
            <pc:sldMk cId="4286818092" sldId="620"/>
            <ac:spMk id="24" creationId="{DE034EBD-3180-49C9-A72B-7FFAE4FCF0FA}"/>
          </ac:spMkLst>
        </pc:spChg>
      </pc:sldChg>
      <pc:sldChg chg="addSp delSp modSp add mod">
        <pc:chgData name="Daniel Valero" userId="31dd2ff7-9a08-462f-9096-6c487a317220" providerId="ADAL" clId="{13C66EB5-766D-4A69-8EF8-1B215228E3C9}" dt="2020-02-25T18:16:07.545" v="4060" actId="20577"/>
        <pc:sldMkLst>
          <pc:docMk/>
          <pc:sldMk cId="1030677442" sldId="621"/>
        </pc:sldMkLst>
        <pc:spChg chg="mod">
          <ac:chgData name="Daniel Valero" userId="31dd2ff7-9a08-462f-9096-6c487a317220" providerId="ADAL" clId="{13C66EB5-766D-4A69-8EF8-1B215228E3C9}" dt="2020-02-25T18:03:35.411" v="3604" actId="790"/>
          <ac:spMkLst>
            <pc:docMk/>
            <pc:sldMk cId="1030677442" sldId="621"/>
            <ac:spMk id="2" creationId="{EB67312A-9819-43C6-8D84-D9136E6CFFCC}"/>
          </ac:spMkLst>
        </pc:spChg>
        <pc:spChg chg="mod">
          <ac:chgData name="Daniel Valero" userId="31dd2ff7-9a08-462f-9096-6c487a317220" providerId="ADAL" clId="{13C66EB5-766D-4A69-8EF8-1B215228E3C9}" dt="2020-02-25T18:14:23.302" v="3878" actId="20577"/>
          <ac:spMkLst>
            <pc:docMk/>
            <pc:sldMk cId="1030677442" sldId="621"/>
            <ac:spMk id="3" creationId="{F35E8CBB-5A7D-4DEF-BAF7-8DD5D042F9E0}"/>
          </ac:spMkLst>
        </pc:spChg>
        <pc:spChg chg="add mod">
          <ac:chgData name="Daniel Valero" userId="31dd2ff7-9a08-462f-9096-6c487a317220" providerId="ADAL" clId="{13C66EB5-766D-4A69-8EF8-1B215228E3C9}" dt="2020-02-25T18:14:14.176" v="3863" actId="33524"/>
          <ac:spMkLst>
            <pc:docMk/>
            <pc:sldMk cId="1030677442" sldId="621"/>
            <ac:spMk id="6" creationId="{70F92798-54C4-42CE-9509-349D1E88B39C}"/>
          </ac:spMkLst>
        </pc:spChg>
        <pc:graphicFrameChg chg="del modGraphic">
          <ac:chgData name="Daniel Valero" userId="31dd2ff7-9a08-462f-9096-6c487a317220" providerId="ADAL" clId="{13C66EB5-766D-4A69-8EF8-1B215228E3C9}" dt="2020-02-25T18:06:00.652" v="3607" actId="478"/>
          <ac:graphicFrameMkLst>
            <pc:docMk/>
            <pc:sldMk cId="1030677442" sldId="621"/>
            <ac:graphicFrameMk id="5" creationId="{8F820CDF-BD1D-4AD1-BE1D-7130A022C764}"/>
          </ac:graphicFrameMkLst>
        </pc:graphicFrameChg>
        <pc:graphicFrameChg chg="add mod modGraphic">
          <ac:chgData name="Daniel Valero" userId="31dd2ff7-9a08-462f-9096-6c487a317220" providerId="ADAL" clId="{13C66EB5-766D-4A69-8EF8-1B215228E3C9}" dt="2020-02-25T18:16:07.545" v="4060" actId="20577"/>
          <ac:graphicFrameMkLst>
            <pc:docMk/>
            <pc:sldMk cId="1030677442" sldId="621"/>
            <ac:graphicFrameMk id="7" creationId="{8054562B-EDA4-4A5F-95DF-6B68DF7EFF40}"/>
          </ac:graphicFrameMkLst>
        </pc:graphicFrameChg>
      </pc:sldChg>
      <pc:sldChg chg="add">
        <pc:chgData name="Daniel Valero" userId="31dd2ff7-9a08-462f-9096-6c487a317220" providerId="ADAL" clId="{13C66EB5-766D-4A69-8EF8-1B215228E3C9}" dt="2020-02-25T18:31:49.832" v="4140"/>
        <pc:sldMkLst>
          <pc:docMk/>
          <pc:sldMk cId="3727622838" sldId="622"/>
        </pc:sldMkLst>
      </pc:sldChg>
      <pc:sldChg chg="addSp delSp modSp add mod delAnim modNotesTx">
        <pc:chgData name="Daniel Valero" userId="31dd2ff7-9a08-462f-9096-6c487a317220" providerId="ADAL" clId="{13C66EB5-766D-4A69-8EF8-1B215228E3C9}" dt="2020-02-25T19:08:46.406" v="4922" actId="20577"/>
        <pc:sldMkLst>
          <pc:docMk/>
          <pc:sldMk cId="3363990098" sldId="623"/>
        </pc:sldMkLst>
        <pc:spChg chg="mod">
          <ac:chgData name="Daniel Valero" userId="31dd2ff7-9a08-462f-9096-6c487a317220" providerId="ADAL" clId="{13C66EB5-766D-4A69-8EF8-1B215228E3C9}" dt="2020-02-25T19:08:46.406" v="4922" actId="20577"/>
          <ac:spMkLst>
            <pc:docMk/>
            <pc:sldMk cId="3363990098" sldId="623"/>
            <ac:spMk id="2" creationId="{EB67312A-9819-43C6-8D84-D9136E6CFFCC}"/>
          </ac:spMkLst>
        </pc:spChg>
        <pc:spChg chg="mod">
          <ac:chgData name="Daniel Valero" userId="31dd2ff7-9a08-462f-9096-6c487a317220" providerId="ADAL" clId="{13C66EB5-766D-4A69-8EF8-1B215228E3C9}" dt="2020-02-25T19:06:40.021" v="4868" actId="20577"/>
          <ac:spMkLst>
            <pc:docMk/>
            <pc:sldMk cId="3363990098" sldId="623"/>
            <ac:spMk id="3" creationId="{F35E8CBB-5A7D-4DEF-BAF7-8DD5D042F9E0}"/>
          </ac:spMkLst>
        </pc:spChg>
        <pc:spChg chg="del">
          <ac:chgData name="Daniel Valero" userId="31dd2ff7-9a08-462f-9096-6c487a317220" providerId="ADAL" clId="{13C66EB5-766D-4A69-8EF8-1B215228E3C9}" dt="2020-02-25T19:01:49.968" v="4715" actId="478"/>
          <ac:spMkLst>
            <pc:docMk/>
            <pc:sldMk cId="3363990098" sldId="623"/>
            <ac:spMk id="5" creationId="{7FE2D393-5B11-4ED9-A753-3242CAC2B5B2}"/>
          </ac:spMkLst>
        </pc:spChg>
        <pc:spChg chg="del">
          <ac:chgData name="Daniel Valero" userId="31dd2ff7-9a08-462f-9096-6c487a317220" providerId="ADAL" clId="{13C66EB5-766D-4A69-8EF8-1B215228E3C9}" dt="2020-02-25T19:01:49.968" v="4715" actId="478"/>
          <ac:spMkLst>
            <pc:docMk/>
            <pc:sldMk cId="3363990098" sldId="623"/>
            <ac:spMk id="7" creationId="{439CE905-1E40-4DF4-AAB7-B4708DE39F71}"/>
          </ac:spMkLst>
        </pc:spChg>
        <pc:spChg chg="del">
          <ac:chgData name="Daniel Valero" userId="31dd2ff7-9a08-462f-9096-6c487a317220" providerId="ADAL" clId="{13C66EB5-766D-4A69-8EF8-1B215228E3C9}" dt="2020-02-25T19:01:49.968" v="4715" actId="478"/>
          <ac:spMkLst>
            <pc:docMk/>
            <pc:sldMk cId="3363990098" sldId="623"/>
            <ac:spMk id="8" creationId="{9642542A-325A-444C-943B-6EBAEF3A41AC}"/>
          </ac:spMkLst>
        </pc:spChg>
        <pc:spChg chg="del">
          <ac:chgData name="Daniel Valero" userId="31dd2ff7-9a08-462f-9096-6c487a317220" providerId="ADAL" clId="{13C66EB5-766D-4A69-8EF8-1B215228E3C9}" dt="2020-02-25T19:01:49.968" v="4715" actId="478"/>
          <ac:spMkLst>
            <pc:docMk/>
            <pc:sldMk cId="3363990098" sldId="623"/>
            <ac:spMk id="10" creationId="{62D72855-10C5-44D0-9958-4F6E50B4ADA5}"/>
          </ac:spMkLst>
        </pc:spChg>
        <pc:spChg chg="del">
          <ac:chgData name="Daniel Valero" userId="31dd2ff7-9a08-462f-9096-6c487a317220" providerId="ADAL" clId="{13C66EB5-766D-4A69-8EF8-1B215228E3C9}" dt="2020-02-25T19:01:49.968" v="4715" actId="478"/>
          <ac:spMkLst>
            <pc:docMk/>
            <pc:sldMk cId="3363990098" sldId="623"/>
            <ac:spMk id="11" creationId="{2224CD71-60DA-4317-87E5-72D450424779}"/>
          </ac:spMkLst>
        </pc:spChg>
        <pc:spChg chg="del">
          <ac:chgData name="Daniel Valero" userId="31dd2ff7-9a08-462f-9096-6c487a317220" providerId="ADAL" clId="{13C66EB5-766D-4A69-8EF8-1B215228E3C9}" dt="2020-02-25T19:01:49.968" v="4715" actId="478"/>
          <ac:spMkLst>
            <pc:docMk/>
            <pc:sldMk cId="3363990098" sldId="623"/>
            <ac:spMk id="12" creationId="{B21B801E-94C2-416D-B6EF-30A009D6BABB}"/>
          </ac:spMkLst>
        </pc:spChg>
        <pc:spChg chg="del">
          <ac:chgData name="Daniel Valero" userId="31dd2ff7-9a08-462f-9096-6c487a317220" providerId="ADAL" clId="{13C66EB5-766D-4A69-8EF8-1B215228E3C9}" dt="2020-02-25T19:01:49.968" v="4715" actId="478"/>
          <ac:spMkLst>
            <pc:docMk/>
            <pc:sldMk cId="3363990098" sldId="623"/>
            <ac:spMk id="14" creationId="{E35CE312-6ED7-44DD-8D1B-615F04F0D4D1}"/>
          </ac:spMkLst>
        </pc:spChg>
        <pc:spChg chg="del">
          <ac:chgData name="Daniel Valero" userId="31dd2ff7-9a08-462f-9096-6c487a317220" providerId="ADAL" clId="{13C66EB5-766D-4A69-8EF8-1B215228E3C9}" dt="2020-02-25T19:01:49.968" v="4715" actId="478"/>
          <ac:spMkLst>
            <pc:docMk/>
            <pc:sldMk cId="3363990098" sldId="623"/>
            <ac:spMk id="15" creationId="{75366D26-DDCF-4B22-A6CC-1086C4A66DDF}"/>
          </ac:spMkLst>
        </pc:spChg>
        <pc:spChg chg="del">
          <ac:chgData name="Daniel Valero" userId="31dd2ff7-9a08-462f-9096-6c487a317220" providerId="ADAL" clId="{13C66EB5-766D-4A69-8EF8-1B215228E3C9}" dt="2020-02-25T19:01:49.968" v="4715" actId="478"/>
          <ac:spMkLst>
            <pc:docMk/>
            <pc:sldMk cId="3363990098" sldId="623"/>
            <ac:spMk id="16" creationId="{76CD0A62-E722-4033-8C2A-35930BC70C38}"/>
          </ac:spMkLst>
        </pc:spChg>
        <pc:spChg chg="del">
          <ac:chgData name="Daniel Valero" userId="31dd2ff7-9a08-462f-9096-6c487a317220" providerId="ADAL" clId="{13C66EB5-766D-4A69-8EF8-1B215228E3C9}" dt="2020-02-25T19:01:49.968" v="4715" actId="478"/>
          <ac:spMkLst>
            <pc:docMk/>
            <pc:sldMk cId="3363990098" sldId="623"/>
            <ac:spMk id="17" creationId="{01F8DCA1-0A1C-4589-A114-F7260B8D3605}"/>
          </ac:spMkLst>
        </pc:spChg>
        <pc:spChg chg="del">
          <ac:chgData name="Daniel Valero" userId="31dd2ff7-9a08-462f-9096-6c487a317220" providerId="ADAL" clId="{13C66EB5-766D-4A69-8EF8-1B215228E3C9}" dt="2020-02-25T19:01:49.968" v="4715" actId="478"/>
          <ac:spMkLst>
            <pc:docMk/>
            <pc:sldMk cId="3363990098" sldId="623"/>
            <ac:spMk id="18" creationId="{91ADEC72-9D40-40A7-9F63-13F01E33DF64}"/>
          </ac:spMkLst>
        </pc:spChg>
        <pc:spChg chg="del">
          <ac:chgData name="Daniel Valero" userId="31dd2ff7-9a08-462f-9096-6c487a317220" providerId="ADAL" clId="{13C66EB5-766D-4A69-8EF8-1B215228E3C9}" dt="2020-02-25T19:01:49.968" v="4715" actId="478"/>
          <ac:spMkLst>
            <pc:docMk/>
            <pc:sldMk cId="3363990098" sldId="623"/>
            <ac:spMk id="19" creationId="{8C0223B9-0C0B-4D03-835C-BB276F2AFE6A}"/>
          </ac:spMkLst>
        </pc:spChg>
        <pc:spChg chg="del">
          <ac:chgData name="Daniel Valero" userId="31dd2ff7-9a08-462f-9096-6c487a317220" providerId="ADAL" clId="{13C66EB5-766D-4A69-8EF8-1B215228E3C9}" dt="2020-02-25T19:01:49.968" v="4715" actId="478"/>
          <ac:spMkLst>
            <pc:docMk/>
            <pc:sldMk cId="3363990098" sldId="623"/>
            <ac:spMk id="21" creationId="{59BC122F-56A4-4744-ACD8-1FA161AF9637}"/>
          </ac:spMkLst>
        </pc:spChg>
        <pc:spChg chg="del">
          <ac:chgData name="Daniel Valero" userId="31dd2ff7-9a08-462f-9096-6c487a317220" providerId="ADAL" clId="{13C66EB5-766D-4A69-8EF8-1B215228E3C9}" dt="2020-02-25T19:01:49.968" v="4715" actId="478"/>
          <ac:spMkLst>
            <pc:docMk/>
            <pc:sldMk cId="3363990098" sldId="623"/>
            <ac:spMk id="22" creationId="{F261C6AE-C9E6-4EA3-9806-760F4DF13F16}"/>
          </ac:spMkLst>
        </pc:spChg>
        <pc:spChg chg="del">
          <ac:chgData name="Daniel Valero" userId="31dd2ff7-9a08-462f-9096-6c487a317220" providerId="ADAL" clId="{13C66EB5-766D-4A69-8EF8-1B215228E3C9}" dt="2020-02-25T19:01:49.968" v="4715" actId="478"/>
          <ac:spMkLst>
            <pc:docMk/>
            <pc:sldMk cId="3363990098" sldId="623"/>
            <ac:spMk id="23" creationId="{1481159C-E664-4223-BE03-5DA2A61AF604}"/>
          </ac:spMkLst>
        </pc:spChg>
        <pc:spChg chg="del">
          <ac:chgData name="Daniel Valero" userId="31dd2ff7-9a08-462f-9096-6c487a317220" providerId="ADAL" clId="{13C66EB5-766D-4A69-8EF8-1B215228E3C9}" dt="2020-02-25T19:01:49.968" v="4715" actId="478"/>
          <ac:spMkLst>
            <pc:docMk/>
            <pc:sldMk cId="3363990098" sldId="623"/>
            <ac:spMk id="24" creationId="{65080DA3-54A4-41FB-B39B-9A2782630F40}"/>
          </ac:spMkLst>
        </pc:spChg>
        <pc:spChg chg="add mod">
          <ac:chgData name="Daniel Valero" userId="31dd2ff7-9a08-462f-9096-6c487a317220" providerId="ADAL" clId="{13C66EB5-766D-4A69-8EF8-1B215228E3C9}" dt="2020-02-25T19:07:24.427" v="4877" actId="554"/>
          <ac:spMkLst>
            <pc:docMk/>
            <pc:sldMk cId="3363990098" sldId="623"/>
            <ac:spMk id="27" creationId="{D6223C16-136D-4944-BBF1-6B612D676766}"/>
          </ac:spMkLst>
        </pc:spChg>
        <pc:spChg chg="add mod">
          <ac:chgData name="Daniel Valero" userId="31dd2ff7-9a08-462f-9096-6c487a317220" providerId="ADAL" clId="{13C66EB5-766D-4A69-8EF8-1B215228E3C9}" dt="2020-02-25T19:07:24.427" v="4877" actId="554"/>
          <ac:spMkLst>
            <pc:docMk/>
            <pc:sldMk cId="3363990098" sldId="623"/>
            <ac:spMk id="28" creationId="{F979CF76-1DF3-4F0F-9E36-E82715E9129A}"/>
          </ac:spMkLst>
        </pc:spChg>
        <pc:spChg chg="del">
          <ac:chgData name="Daniel Valero" userId="31dd2ff7-9a08-462f-9096-6c487a317220" providerId="ADAL" clId="{13C66EB5-766D-4A69-8EF8-1B215228E3C9}" dt="2020-02-25T19:01:49.968" v="4715" actId="478"/>
          <ac:spMkLst>
            <pc:docMk/>
            <pc:sldMk cId="3363990098" sldId="623"/>
            <ac:spMk id="33" creationId="{09C0E520-A9B3-4997-A27D-0B17F6B00BB8}"/>
          </ac:spMkLst>
        </pc:spChg>
        <pc:spChg chg="del">
          <ac:chgData name="Daniel Valero" userId="31dd2ff7-9a08-462f-9096-6c487a317220" providerId="ADAL" clId="{13C66EB5-766D-4A69-8EF8-1B215228E3C9}" dt="2020-02-25T19:01:49.968" v="4715" actId="478"/>
          <ac:spMkLst>
            <pc:docMk/>
            <pc:sldMk cId="3363990098" sldId="623"/>
            <ac:spMk id="34" creationId="{0F51054F-0789-402B-A5ED-4665F356CAFE}"/>
          </ac:spMkLst>
        </pc:spChg>
        <pc:spChg chg="del">
          <ac:chgData name="Daniel Valero" userId="31dd2ff7-9a08-462f-9096-6c487a317220" providerId="ADAL" clId="{13C66EB5-766D-4A69-8EF8-1B215228E3C9}" dt="2020-02-25T19:01:46.176" v="4713" actId="478"/>
          <ac:spMkLst>
            <pc:docMk/>
            <pc:sldMk cId="3363990098" sldId="623"/>
            <ac:spMk id="35" creationId="{E82C582F-9E37-4CA1-87E3-276BF1DE4A34}"/>
          </ac:spMkLst>
        </pc:spChg>
        <pc:picChg chg="add mod modCrop">
          <ac:chgData name="Daniel Valero" userId="31dd2ff7-9a08-462f-9096-6c487a317220" providerId="ADAL" clId="{13C66EB5-766D-4A69-8EF8-1B215228E3C9}" dt="2020-02-25T19:07:12.445" v="4874" actId="1076"/>
          <ac:picMkLst>
            <pc:docMk/>
            <pc:sldMk cId="3363990098" sldId="623"/>
            <ac:picMk id="4" creationId="{67624C2C-33CD-4095-A586-2D4F4782AAFE}"/>
          </ac:picMkLst>
        </pc:picChg>
        <pc:picChg chg="add mod modCrop">
          <ac:chgData name="Daniel Valero" userId="31dd2ff7-9a08-462f-9096-6c487a317220" providerId="ADAL" clId="{13C66EB5-766D-4A69-8EF8-1B215228E3C9}" dt="2020-02-25T19:07:19.950" v="4876" actId="1076"/>
          <ac:picMkLst>
            <pc:docMk/>
            <pc:sldMk cId="3363990098" sldId="623"/>
            <ac:picMk id="6" creationId="{577A602D-1619-438A-99E3-87626B8E4208}"/>
          </ac:picMkLst>
        </pc:picChg>
        <pc:picChg chg="del">
          <ac:chgData name="Daniel Valero" userId="31dd2ff7-9a08-462f-9096-6c487a317220" providerId="ADAL" clId="{13C66EB5-766D-4A69-8EF8-1B215228E3C9}" dt="2020-02-25T19:01:46.956" v="4714" actId="478"/>
          <ac:picMkLst>
            <pc:docMk/>
            <pc:sldMk cId="3363990098" sldId="623"/>
            <ac:picMk id="26" creationId="{729BD118-B9CA-426C-8EFD-5A194B3BCD4B}"/>
          </ac:picMkLst>
        </pc:picChg>
      </pc:sldChg>
      <pc:sldChg chg="addSp delSp modSp add mod modNotesTx">
        <pc:chgData name="Daniel Valero" userId="31dd2ff7-9a08-462f-9096-6c487a317220" providerId="ADAL" clId="{13C66EB5-766D-4A69-8EF8-1B215228E3C9}" dt="2020-02-25T19:11:27.470" v="5146" actId="1076"/>
        <pc:sldMkLst>
          <pc:docMk/>
          <pc:sldMk cId="593398684" sldId="624"/>
        </pc:sldMkLst>
        <pc:spChg chg="mod">
          <ac:chgData name="Daniel Valero" userId="31dd2ff7-9a08-462f-9096-6c487a317220" providerId="ADAL" clId="{13C66EB5-766D-4A69-8EF8-1B215228E3C9}" dt="2020-02-25T19:08:50.012" v="4927" actId="20577"/>
          <ac:spMkLst>
            <pc:docMk/>
            <pc:sldMk cId="593398684" sldId="624"/>
            <ac:spMk id="2" creationId="{EB67312A-9819-43C6-8D84-D9136E6CFFCC}"/>
          </ac:spMkLst>
        </pc:spChg>
        <pc:spChg chg="mod">
          <ac:chgData name="Daniel Valero" userId="31dd2ff7-9a08-462f-9096-6c487a317220" providerId="ADAL" clId="{13C66EB5-766D-4A69-8EF8-1B215228E3C9}" dt="2020-02-25T19:08:39.621" v="4912" actId="313"/>
          <ac:spMkLst>
            <pc:docMk/>
            <pc:sldMk cId="593398684" sldId="624"/>
            <ac:spMk id="3" creationId="{F35E8CBB-5A7D-4DEF-BAF7-8DD5D042F9E0}"/>
          </ac:spMkLst>
        </pc:spChg>
        <pc:spChg chg="add del">
          <ac:chgData name="Daniel Valero" userId="31dd2ff7-9a08-462f-9096-6c487a317220" providerId="ADAL" clId="{13C66EB5-766D-4A69-8EF8-1B215228E3C9}" dt="2020-02-25T19:10:27.125" v="4940"/>
          <ac:spMkLst>
            <pc:docMk/>
            <pc:sldMk cId="593398684" sldId="624"/>
            <ac:spMk id="7" creationId="{90601F5E-4B39-4EA1-B957-9033AF0F6414}"/>
          </ac:spMkLst>
        </pc:spChg>
        <pc:spChg chg="add mod">
          <ac:chgData name="Daniel Valero" userId="31dd2ff7-9a08-462f-9096-6c487a317220" providerId="ADAL" clId="{13C66EB5-766D-4A69-8EF8-1B215228E3C9}" dt="2020-02-25T19:11:27.470" v="5146" actId="1076"/>
          <ac:spMkLst>
            <pc:docMk/>
            <pc:sldMk cId="593398684" sldId="624"/>
            <ac:spMk id="8" creationId="{D4E53F4A-1426-4587-A994-2539692BA5CD}"/>
          </ac:spMkLst>
        </pc:spChg>
        <pc:spChg chg="del">
          <ac:chgData name="Daniel Valero" userId="31dd2ff7-9a08-462f-9096-6c487a317220" providerId="ADAL" clId="{13C66EB5-766D-4A69-8EF8-1B215228E3C9}" dt="2020-02-25T19:10:19.727" v="4937" actId="478"/>
          <ac:spMkLst>
            <pc:docMk/>
            <pc:sldMk cId="593398684" sldId="624"/>
            <ac:spMk id="27" creationId="{D6223C16-136D-4944-BBF1-6B612D676766}"/>
          </ac:spMkLst>
        </pc:spChg>
        <pc:spChg chg="del">
          <ac:chgData name="Daniel Valero" userId="31dd2ff7-9a08-462f-9096-6c487a317220" providerId="ADAL" clId="{13C66EB5-766D-4A69-8EF8-1B215228E3C9}" dt="2020-02-25T19:09:43.549" v="4933" actId="478"/>
          <ac:spMkLst>
            <pc:docMk/>
            <pc:sldMk cId="593398684" sldId="624"/>
            <ac:spMk id="28" creationId="{F979CF76-1DF3-4F0F-9E36-E82715E9129A}"/>
          </ac:spMkLst>
        </pc:spChg>
        <pc:picChg chg="del">
          <ac:chgData name="Daniel Valero" userId="31dd2ff7-9a08-462f-9096-6c487a317220" providerId="ADAL" clId="{13C66EB5-766D-4A69-8EF8-1B215228E3C9}" dt="2020-02-25T19:08:21.642" v="4885" actId="478"/>
          <ac:picMkLst>
            <pc:docMk/>
            <pc:sldMk cId="593398684" sldId="624"/>
            <ac:picMk id="4" creationId="{67624C2C-33CD-4095-A586-2D4F4782AAFE}"/>
          </ac:picMkLst>
        </pc:picChg>
        <pc:picChg chg="add mod">
          <ac:chgData name="Daniel Valero" userId="31dd2ff7-9a08-462f-9096-6c487a317220" providerId="ADAL" clId="{13C66EB5-766D-4A69-8EF8-1B215228E3C9}" dt="2020-02-25T19:10:22.570" v="4938" actId="1076"/>
          <ac:picMkLst>
            <pc:docMk/>
            <pc:sldMk cId="593398684" sldId="624"/>
            <ac:picMk id="5" creationId="{CF9DCC56-B0B2-4004-BAED-B8DAC74A6FFC}"/>
          </ac:picMkLst>
        </pc:picChg>
        <pc:picChg chg="del">
          <ac:chgData name="Daniel Valero" userId="31dd2ff7-9a08-462f-9096-6c487a317220" providerId="ADAL" clId="{13C66EB5-766D-4A69-8EF8-1B215228E3C9}" dt="2020-02-25T19:08:21.953" v="4886" actId="478"/>
          <ac:picMkLst>
            <pc:docMk/>
            <pc:sldMk cId="593398684" sldId="624"/>
            <ac:picMk id="6" creationId="{577A602D-1619-438A-99E3-87626B8E4208}"/>
          </ac:picMkLst>
        </pc:picChg>
      </pc:sldChg>
      <pc:sldChg chg="modSp add mod">
        <pc:chgData name="Daniel Valero" userId="31dd2ff7-9a08-462f-9096-6c487a317220" providerId="ADAL" clId="{13C66EB5-766D-4A69-8EF8-1B215228E3C9}" dt="2020-02-25T20:23:20.313" v="5194" actId="20577"/>
        <pc:sldMkLst>
          <pc:docMk/>
          <pc:sldMk cId="1217066516" sldId="625"/>
        </pc:sldMkLst>
        <pc:spChg chg="mod">
          <ac:chgData name="Daniel Valero" userId="31dd2ff7-9a08-462f-9096-6c487a317220" providerId="ADAL" clId="{13C66EB5-766D-4A69-8EF8-1B215228E3C9}" dt="2020-02-25T20:23:20.313" v="5194" actId="20577"/>
          <ac:spMkLst>
            <pc:docMk/>
            <pc:sldMk cId="1217066516" sldId="625"/>
            <ac:spMk id="2" creationId="{EB67312A-9819-43C6-8D84-D9136E6CFFCC}"/>
          </ac:spMkLst>
        </pc:spChg>
      </pc:sldChg>
      <pc:sldChg chg="modSp add mod">
        <pc:chgData name="Daniel Valero" userId="31dd2ff7-9a08-462f-9096-6c487a317220" providerId="ADAL" clId="{13C66EB5-766D-4A69-8EF8-1B215228E3C9}" dt="2020-02-25T20:23:39.012" v="5197"/>
        <pc:sldMkLst>
          <pc:docMk/>
          <pc:sldMk cId="743094843" sldId="626"/>
        </pc:sldMkLst>
        <pc:spChg chg="mod">
          <ac:chgData name="Daniel Valero" userId="31dd2ff7-9a08-462f-9096-6c487a317220" providerId="ADAL" clId="{13C66EB5-766D-4A69-8EF8-1B215228E3C9}" dt="2020-02-25T20:23:39.012" v="5197"/>
          <ac:spMkLst>
            <pc:docMk/>
            <pc:sldMk cId="743094843" sldId="626"/>
            <ac:spMk id="2" creationId="{EB67312A-9819-43C6-8D84-D9136E6CFFCC}"/>
          </ac:spMkLst>
        </pc:spChg>
      </pc:sldChg>
      <pc:sldChg chg="modSp add">
        <pc:chgData name="Daniel Valero" userId="31dd2ff7-9a08-462f-9096-6c487a317220" providerId="ADAL" clId="{13C66EB5-766D-4A69-8EF8-1B215228E3C9}" dt="2020-02-25T20:45:15.626" v="5343"/>
        <pc:sldMkLst>
          <pc:docMk/>
          <pc:sldMk cId="2024360696" sldId="627"/>
        </pc:sldMkLst>
        <pc:spChg chg="mod">
          <ac:chgData name="Daniel Valero" userId="31dd2ff7-9a08-462f-9096-6c487a317220" providerId="ADAL" clId="{13C66EB5-766D-4A69-8EF8-1B215228E3C9}" dt="2020-02-25T20:45:15.626" v="5343"/>
          <ac:spMkLst>
            <pc:docMk/>
            <pc:sldMk cId="2024360696" sldId="627"/>
            <ac:spMk id="2" creationId="{EB67312A-9819-43C6-8D84-D9136E6CFFCC}"/>
          </ac:spMkLst>
        </pc:spChg>
      </pc:sldChg>
      <pc:sldChg chg="modSp add">
        <pc:chgData name="Daniel Valero" userId="31dd2ff7-9a08-462f-9096-6c487a317220" providerId="ADAL" clId="{13C66EB5-766D-4A69-8EF8-1B215228E3C9}" dt="2020-02-25T20:45:27.577" v="5345"/>
        <pc:sldMkLst>
          <pc:docMk/>
          <pc:sldMk cId="3785445527" sldId="628"/>
        </pc:sldMkLst>
        <pc:spChg chg="mod">
          <ac:chgData name="Daniel Valero" userId="31dd2ff7-9a08-462f-9096-6c487a317220" providerId="ADAL" clId="{13C66EB5-766D-4A69-8EF8-1B215228E3C9}" dt="2020-02-25T20:45:27.577" v="5345"/>
          <ac:spMkLst>
            <pc:docMk/>
            <pc:sldMk cId="3785445527" sldId="628"/>
            <ac:spMk id="2" creationId="{EB67312A-9819-43C6-8D84-D9136E6CFFCC}"/>
          </ac:spMkLst>
        </pc:spChg>
      </pc:sldChg>
      <pc:sldChg chg="modSp add">
        <pc:chgData name="Daniel Valero" userId="31dd2ff7-9a08-462f-9096-6c487a317220" providerId="ADAL" clId="{13C66EB5-766D-4A69-8EF8-1B215228E3C9}" dt="2020-02-25T20:45:44.192" v="5346"/>
        <pc:sldMkLst>
          <pc:docMk/>
          <pc:sldMk cId="3568901222" sldId="629"/>
        </pc:sldMkLst>
        <pc:spChg chg="mod">
          <ac:chgData name="Daniel Valero" userId="31dd2ff7-9a08-462f-9096-6c487a317220" providerId="ADAL" clId="{13C66EB5-766D-4A69-8EF8-1B215228E3C9}" dt="2020-02-25T20:45:44.192" v="5346"/>
          <ac:spMkLst>
            <pc:docMk/>
            <pc:sldMk cId="3568901222" sldId="629"/>
            <ac:spMk id="2" creationId="{EB67312A-9819-43C6-8D84-D9136E6CFFCC}"/>
          </ac:spMkLst>
        </pc:spChg>
      </pc:sldChg>
      <pc:sldChg chg="modSp add">
        <pc:chgData name="Daniel Valero" userId="31dd2ff7-9a08-462f-9096-6c487a317220" providerId="ADAL" clId="{13C66EB5-766D-4A69-8EF8-1B215228E3C9}" dt="2020-02-25T20:46:08.166" v="5348"/>
        <pc:sldMkLst>
          <pc:docMk/>
          <pc:sldMk cId="3702163554" sldId="630"/>
        </pc:sldMkLst>
        <pc:spChg chg="mod">
          <ac:chgData name="Daniel Valero" userId="31dd2ff7-9a08-462f-9096-6c487a317220" providerId="ADAL" clId="{13C66EB5-766D-4A69-8EF8-1B215228E3C9}" dt="2020-02-25T20:46:08.166" v="5348"/>
          <ac:spMkLst>
            <pc:docMk/>
            <pc:sldMk cId="3702163554" sldId="630"/>
            <ac:spMk id="2" creationId="{EB67312A-9819-43C6-8D84-D9136E6CFFCC}"/>
          </ac:spMkLst>
        </pc:spChg>
      </pc:sldChg>
      <pc:sldChg chg="modSp add">
        <pc:chgData name="Daniel Valero" userId="31dd2ff7-9a08-462f-9096-6c487a317220" providerId="ADAL" clId="{13C66EB5-766D-4A69-8EF8-1B215228E3C9}" dt="2020-02-25T20:46:13.995" v="5349"/>
        <pc:sldMkLst>
          <pc:docMk/>
          <pc:sldMk cId="1732971809" sldId="631"/>
        </pc:sldMkLst>
        <pc:spChg chg="mod">
          <ac:chgData name="Daniel Valero" userId="31dd2ff7-9a08-462f-9096-6c487a317220" providerId="ADAL" clId="{13C66EB5-766D-4A69-8EF8-1B215228E3C9}" dt="2020-02-25T20:46:13.995" v="5349"/>
          <ac:spMkLst>
            <pc:docMk/>
            <pc:sldMk cId="1732971809" sldId="631"/>
            <ac:spMk id="2" creationId="{EB67312A-9819-43C6-8D84-D9136E6CFFCC}"/>
          </ac:spMkLst>
        </pc:spChg>
      </pc:sldChg>
      <pc:sldChg chg="modSp add">
        <pc:chgData name="Daniel Valero" userId="31dd2ff7-9a08-462f-9096-6c487a317220" providerId="ADAL" clId="{13C66EB5-766D-4A69-8EF8-1B215228E3C9}" dt="2020-02-25T20:46:25.732" v="5350"/>
        <pc:sldMkLst>
          <pc:docMk/>
          <pc:sldMk cId="2857195574" sldId="632"/>
        </pc:sldMkLst>
        <pc:spChg chg="mod">
          <ac:chgData name="Daniel Valero" userId="31dd2ff7-9a08-462f-9096-6c487a317220" providerId="ADAL" clId="{13C66EB5-766D-4A69-8EF8-1B215228E3C9}" dt="2020-02-25T20:46:25.732" v="5350"/>
          <ac:spMkLst>
            <pc:docMk/>
            <pc:sldMk cId="2857195574" sldId="632"/>
            <ac:spMk id="2" creationId="{EB67312A-9819-43C6-8D84-D9136E6CFFCC}"/>
          </ac:spMkLst>
        </pc:spChg>
      </pc:sldChg>
      <pc:sldChg chg="addSp delSp modSp add mod modNotesTx">
        <pc:chgData name="Daniel Valero" userId="31dd2ff7-9a08-462f-9096-6c487a317220" providerId="ADAL" clId="{13C66EB5-766D-4A69-8EF8-1B215228E3C9}" dt="2020-02-26T19:13:33.900" v="5405" actId="14100"/>
        <pc:sldMkLst>
          <pc:docMk/>
          <pc:sldMk cId="466097575" sldId="633"/>
        </pc:sldMkLst>
        <pc:spChg chg="mod">
          <ac:chgData name="Daniel Valero" userId="31dd2ff7-9a08-462f-9096-6c487a317220" providerId="ADAL" clId="{13C66EB5-766D-4A69-8EF8-1B215228E3C9}" dt="2020-02-26T19:06:43.428" v="5373" actId="20577"/>
          <ac:spMkLst>
            <pc:docMk/>
            <pc:sldMk cId="466097575" sldId="633"/>
            <ac:spMk id="3" creationId="{F35E8CBB-5A7D-4DEF-BAF7-8DD5D042F9E0}"/>
          </ac:spMkLst>
        </pc:spChg>
        <pc:spChg chg="add del mod">
          <ac:chgData name="Daniel Valero" userId="31dd2ff7-9a08-462f-9096-6c487a317220" providerId="ADAL" clId="{13C66EB5-766D-4A69-8EF8-1B215228E3C9}" dt="2020-02-26T19:07:07.574" v="5384"/>
          <ac:spMkLst>
            <pc:docMk/>
            <pc:sldMk cId="466097575" sldId="633"/>
            <ac:spMk id="6" creationId="{4525BBB5-0B9E-4B5F-8B45-438B46B7BBED}"/>
          </ac:spMkLst>
        </pc:spChg>
        <pc:spChg chg="mod">
          <ac:chgData name="Daniel Valero" userId="31dd2ff7-9a08-462f-9096-6c487a317220" providerId="ADAL" clId="{13C66EB5-766D-4A69-8EF8-1B215228E3C9}" dt="2020-02-26T19:08:19.564" v="5398" actId="1076"/>
          <ac:spMkLst>
            <pc:docMk/>
            <pc:sldMk cId="466097575" sldId="633"/>
            <ac:spMk id="8" creationId="{D4E53F4A-1426-4587-A994-2539692BA5CD}"/>
          </ac:spMkLst>
        </pc:spChg>
        <pc:spChg chg="add del mod">
          <ac:chgData name="Daniel Valero" userId="31dd2ff7-9a08-462f-9096-6c487a317220" providerId="ADAL" clId="{13C66EB5-766D-4A69-8EF8-1B215228E3C9}" dt="2020-02-26T19:07:16.988" v="5392" actId="478"/>
          <ac:spMkLst>
            <pc:docMk/>
            <pc:sldMk cId="466097575" sldId="633"/>
            <ac:spMk id="9" creationId="{E691691B-0987-4438-8E8E-43969ED7127C}"/>
          </ac:spMkLst>
        </pc:spChg>
        <pc:picChg chg="del">
          <ac:chgData name="Daniel Valero" userId="31dd2ff7-9a08-462f-9096-6c487a317220" providerId="ADAL" clId="{13C66EB5-766D-4A69-8EF8-1B215228E3C9}" dt="2020-02-26T19:06:50.864" v="5374" actId="478"/>
          <ac:picMkLst>
            <pc:docMk/>
            <pc:sldMk cId="466097575" sldId="633"/>
            <ac:picMk id="5" creationId="{CF9DCC56-B0B2-4004-BAED-B8DAC74A6FFC}"/>
          </ac:picMkLst>
        </pc:picChg>
        <pc:picChg chg="add del mod">
          <ac:chgData name="Daniel Valero" userId="31dd2ff7-9a08-462f-9096-6c487a317220" providerId="ADAL" clId="{13C66EB5-766D-4A69-8EF8-1B215228E3C9}" dt="2020-02-26T19:07:07.574" v="5384"/>
          <ac:picMkLst>
            <pc:docMk/>
            <pc:sldMk cId="466097575" sldId="633"/>
            <ac:picMk id="7" creationId="{1F50CB97-9D47-41CE-B62E-783BACB28A6F}"/>
          </ac:picMkLst>
        </pc:picChg>
        <pc:picChg chg="add del mod">
          <ac:chgData name="Daniel Valero" userId="31dd2ff7-9a08-462f-9096-6c487a317220" providerId="ADAL" clId="{13C66EB5-766D-4A69-8EF8-1B215228E3C9}" dt="2020-02-26T19:13:24.583" v="5402" actId="478"/>
          <ac:picMkLst>
            <pc:docMk/>
            <pc:sldMk cId="466097575" sldId="633"/>
            <ac:picMk id="10" creationId="{19684C69-58DC-40DA-9B6C-32AFD812DBC8}"/>
          </ac:picMkLst>
        </pc:picChg>
        <pc:picChg chg="add mod">
          <ac:chgData name="Daniel Valero" userId="31dd2ff7-9a08-462f-9096-6c487a317220" providerId="ADAL" clId="{13C66EB5-766D-4A69-8EF8-1B215228E3C9}" dt="2020-02-26T19:13:33.900" v="5405" actId="14100"/>
          <ac:picMkLst>
            <pc:docMk/>
            <pc:sldMk cId="466097575" sldId="633"/>
            <ac:picMk id="1026" creationId="{7BF95E3C-D2EE-4E98-95D1-748526FEC2AB}"/>
          </ac:picMkLst>
        </pc:picChg>
      </pc:sldChg>
      <pc:sldChg chg="add del">
        <pc:chgData name="Daniel Valero" userId="31dd2ff7-9a08-462f-9096-6c487a317220" providerId="ADAL" clId="{13C66EB5-766D-4A69-8EF8-1B215228E3C9}" dt="2020-02-24T20:29:19.383" v="439"/>
        <pc:sldMkLst>
          <pc:docMk/>
          <pc:sldMk cId="665869574" sldId="1309"/>
        </pc:sldMkLst>
      </pc:sldChg>
      <pc:sldChg chg="add del">
        <pc:chgData name="Daniel Valero" userId="31dd2ff7-9a08-462f-9096-6c487a317220" providerId="ADAL" clId="{13C66EB5-766D-4A69-8EF8-1B215228E3C9}" dt="2020-02-24T20:29:19.383" v="439"/>
        <pc:sldMkLst>
          <pc:docMk/>
          <pc:sldMk cId="1412480476" sldId="1507"/>
        </pc:sldMkLst>
      </pc:sldChg>
      <pc:sldChg chg="add del">
        <pc:chgData name="Daniel Valero" userId="31dd2ff7-9a08-462f-9096-6c487a317220" providerId="ADAL" clId="{13C66EB5-766D-4A69-8EF8-1B215228E3C9}" dt="2020-02-24T20:29:19.383" v="439"/>
        <pc:sldMkLst>
          <pc:docMk/>
          <pc:sldMk cId="1212514240" sldId="1508"/>
        </pc:sldMkLst>
      </pc:sldChg>
      <pc:sldChg chg="add del">
        <pc:chgData name="Daniel Valero" userId="31dd2ff7-9a08-462f-9096-6c487a317220" providerId="ADAL" clId="{13C66EB5-766D-4A69-8EF8-1B215228E3C9}" dt="2020-02-24T20:29:19.383" v="439"/>
        <pc:sldMkLst>
          <pc:docMk/>
          <pc:sldMk cId="462344410" sldId="1515"/>
        </pc:sldMkLst>
      </pc:sldChg>
      <pc:sldChg chg="add del">
        <pc:chgData name="Daniel Valero" userId="31dd2ff7-9a08-462f-9096-6c487a317220" providerId="ADAL" clId="{13C66EB5-766D-4A69-8EF8-1B215228E3C9}" dt="2020-02-24T20:29:19.383" v="439"/>
        <pc:sldMkLst>
          <pc:docMk/>
          <pc:sldMk cId="3071145089" sldId="1516"/>
        </pc:sldMkLst>
      </pc:sldChg>
      <pc:sldChg chg="add del">
        <pc:chgData name="Daniel Valero" userId="31dd2ff7-9a08-462f-9096-6c487a317220" providerId="ADAL" clId="{13C66EB5-766D-4A69-8EF8-1B215228E3C9}" dt="2020-02-24T20:29:19.383" v="439"/>
        <pc:sldMkLst>
          <pc:docMk/>
          <pc:sldMk cId="4238209369" sldId="1517"/>
        </pc:sldMkLst>
      </pc:sldChg>
      <pc:sldChg chg="add del">
        <pc:chgData name="Daniel Valero" userId="31dd2ff7-9a08-462f-9096-6c487a317220" providerId="ADAL" clId="{13C66EB5-766D-4A69-8EF8-1B215228E3C9}" dt="2020-02-24T20:29:19.383" v="439"/>
        <pc:sldMkLst>
          <pc:docMk/>
          <pc:sldMk cId="2110776340" sldId="1518"/>
        </pc:sldMkLst>
      </pc:sldChg>
      <pc:sldChg chg="add del">
        <pc:chgData name="Daniel Valero" userId="31dd2ff7-9a08-462f-9096-6c487a317220" providerId="ADAL" clId="{13C66EB5-766D-4A69-8EF8-1B215228E3C9}" dt="2020-02-24T20:29:19.383" v="439"/>
        <pc:sldMkLst>
          <pc:docMk/>
          <pc:sldMk cId="1453214743" sldId="1519"/>
        </pc:sldMkLst>
      </pc:sldChg>
      <pc:sldChg chg="add del">
        <pc:chgData name="Daniel Valero" userId="31dd2ff7-9a08-462f-9096-6c487a317220" providerId="ADAL" clId="{13C66EB5-766D-4A69-8EF8-1B215228E3C9}" dt="2020-02-24T20:29:19.383" v="439"/>
        <pc:sldMkLst>
          <pc:docMk/>
          <pc:sldMk cId="2820745912" sldId="1524"/>
        </pc:sldMkLst>
      </pc:sldChg>
      <pc:sldChg chg="add del">
        <pc:chgData name="Daniel Valero" userId="31dd2ff7-9a08-462f-9096-6c487a317220" providerId="ADAL" clId="{13C66EB5-766D-4A69-8EF8-1B215228E3C9}" dt="2020-02-24T20:29:19.383" v="439"/>
        <pc:sldMkLst>
          <pc:docMk/>
          <pc:sldMk cId="2086305964" sldId="1526"/>
        </pc:sldMkLst>
      </pc:sldChg>
      <pc:sldChg chg="add del">
        <pc:chgData name="Daniel Valero" userId="31dd2ff7-9a08-462f-9096-6c487a317220" providerId="ADAL" clId="{13C66EB5-766D-4A69-8EF8-1B215228E3C9}" dt="2020-02-24T20:29:19.383" v="439"/>
        <pc:sldMkLst>
          <pc:docMk/>
          <pc:sldMk cId="2475373969" sldId="1527"/>
        </pc:sldMkLst>
      </pc:sldChg>
      <pc:sldChg chg="add del">
        <pc:chgData name="Daniel Valero" userId="31dd2ff7-9a08-462f-9096-6c487a317220" providerId="ADAL" clId="{13C66EB5-766D-4A69-8EF8-1B215228E3C9}" dt="2020-02-24T20:29:19.383" v="439"/>
        <pc:sldMkLst>
          <pc:docMk/>
          <pc:sldMk cId="3925578510" sldId="1528"/>
        </pc:sldMkLst>
      </pc:sldChg>
      <pc:sldChg chg="add del">
        <pc:chgData name="Daniel Valero" userId="31dd2ff7-9a08-462f-9096-6c487a317220" providerId="ADAL" clId="{13C66EB5-766D-4A69-8EF8-1B215228E3C9}" dt="2020-02-24T20:29:19.383" v="439"/>
        <pc:sldMkLst>
          <pc:docMk/>
          <pc:sldMk cId="1193634614" sldId="1533"/>
        </pc:sldMkLst>
      </pc:sldChg>
      <pc:sldChg chg="add del">
        <pc:chgData name="Daniel Valero" userId="31dd2ff7-9a08-462f-9096-6c487a317220" providerId="ADAL" clId="{13C66EB5-766D-4A69-8EF8-1B215228E3C9}" dt="2020-02-24T20:29:19.383" v="439"/>
        <pc:sldMkLst>
          <pc:docMk/>
          <pc:sldMk cId="3812835479" sldId="1534"/>
        </pc:sldMkLst>
      </pc:sldChg>
      <pc:sldChg chg="add del">
        <pc:chgData name="Daniel Valero" userId="31dd2ff7-9a08-462f-9096-6c487a317220" providerId="ADAL" clId="{13C66EB5-766D-4A69-8EF8-1B215228E3C9}" dt="2020-02-24T20:29:19.383" v="439"/>
        <pc:sldMkLst>
          <pc:docMk/>
          <pc:sldMk cId="3978618328" sldId="1535"/>
        </pc:sldMkLst>
      </pc:sldChg>
      <pc:sldChg chg="add del">
        <pc:chgData name="Daniel Valero" userId="31dd2ff7-9a08-462f-9096-6c487a317220" providerId="ADAL" clId="{13C66EB5-766D-4A69-8EF8-1B215228E3C9}" dt="2020-02-24T20:29:19.383" v="439"/>
        <pc:sldMkLst>
          <pc:docMk/>
          <pc:sldMk cId="3765356746" sldId="1536"/>
        </pc:sldMkLst>
      </pc:sldChg>
      <pc:sldChg chg="add del">
        <pc:chgData name="Daniel Valero" userId="31dd2ff7-9a08-462f-9096-6c487a317220" providerId="ADAL" clId="{13C66EB5-766D-4A69-8EF8-1B215228E3C9}" dt="2020-02-24T20:29:19.383" v="439"/>
        <pc:sldMkLst>
          <pc:docMk/>
          <pc:sldMk cId="1975669988" sldId="1542"/>
        </pc:sldMkLst>
      </pc:sldChg>
      <pc:sldChg chg="add del">
        <pc:chgData name="Daniel Valero" userId="31dd2ff7-9a08-462f-9096-6c487a317220" providerId="ADAL" clId="{13C66EB5-766D-4A69-8EF8-1B215228E3C9}" dt="2020-02-24T20:29:19.383" v="439"/>
        <pc:sldMkLst>
          <pc:docMk/>
          <pc:sldMk cId="1812418408" sldId="1543"/>
        </pc:sldMkLst>
      </pc:sldChg>
      <pc:sldChg chg="add del">
        <pc:chgData name="Daniel Valero" userId="31dd2ff7-9a08-462f-9096-6c487a317220" providerId="ADAL" clId="{13C66EB5-766D-4A69-8EF8-1B215228E3C9}" dt="2020-02-24T20:29:19.383" v="439"/>
        <pc:sldMkLst>
          <pc:docMk/>
          <pc:sldMk cId="3716097368" sldId="1544"/>
        </pc:sldMkLst>
      </pc:sldChg>
      <pc:sldChg chg="add del">
        <pc:chgData name="Daniel Valero" userId="31dd2ff7-9a08-462f-9096-6c487a317220" providerId="ADAL" clId="{13C66EB5-766D-4A69-8EF8-1B215228E3C9}" dt="2020-02-24T20:29:19.383" v="439"/>
        <pc:sldMkLst>
          <pc:docMk/>
          <pc:sldMk cId="3139621330" sldId="1545"/>
        </pc:sldMkLst>
      </pc:sldChg>
      <pc:sldChg chg="add del">
        <pc:chgData name="Daniel Valero" userId="31dd2ff7-9a08-462f-9096-6c487a317220" providerId="ADAL" clId="{13C66EB5-766D-4A69-8EF8-1B215228E3C9}" dt="2020-02-24T20:29:19.383" v="439"/>
        <pc:sldMkLst>
          <pc:docMk/>
          <pc:sldMk cId="510682016" sldId="1546"/>
        </pc:sldMkLst>
      </pc:sldChg>
      <pc:sldChg chg="add del">
        <pc:chgData name="Daniel Valero" userId="31dd2ff7-9a08-462f-9096-6c487a317220" providerId="ADAL" clId="{13C66EB5-766D-4A69-8EF8-1B215228E3C9}" dt="2020-02-24T20:29:19.383" v="439"/>
        <pc:sldMkLst>
          <pc:docMk/>
          <pc:sldMk cId="1146967871" sldId="1547"/>
        </pc:sldMkLst>
      </pc:sldChg>
      <pc:sldChg chg="add del">
        <pc:chgData name="Daniel Valero" userId="31dd2ff7-9a08-462f-9096-6c487a317220" providerId="ADAL" clId="{13C66EB5-766D-4A69-8EF8-1B215228E3C9}" dt="2020-02-24T20:29:19.383" v="439"/>
        <pc:sldMkLst>
          <pc:docMk/>
          <pc:sldMk cId="3028854829" sldId="1548"/>
        </pc:sldMkLst>
      </pc:sldChg>
      <pc:sldChg chg="add del">
        <pc:chgData name="Daniel Valero" userId="31dd2ff7-9a08-462f-9096-6c487a317220" providerId="ADAL" clId="{13C66EB5-766D-4A69-8EF8-1B215228E3C9}" dt="2020-02-24T20:29:19.383" v="439"/>
        <pc:sldMkLst>
          <pc:docMk/>
          <pc:sldMk cId="1724747282" sldId="1551"/>
        </pc:sldMkLst>
      </pc:sldChg>
      <pc:sldChg chg="add del">
        <pc:chgData name="Daniel Valero" userId="31dd2ff7-9a08-462f-9096-6c487a317220" providerId="ADAL" clId="{13C66EB5-766D-4A69-8EF8-1B215228E3C9}" dt="2020-02-24T20:29:19.383" v="439"/>
        <pc:sldMkLst>
          <pc:docMk/>
          <pc:sldMk cId="1594902588" sldId="1552"/>
        </pc:sldMkLst>
      </pc:sldChg>
      <pc:sldChg chg="add del">
        <pc:chgData name="Daniel Valero" userId="31dd2ff7-9a08-462f-9096-6c487a317220" providerId="ADAL" clId="{13C66EB5-766D-4A69-8EF8-1B215228E3C9}" dt="2020-02-24T20:29:19.383" v="439"/>
        <pc:sldMkLst>
          <pc:docMk/>
          <pc:sldMk cId="2583637940" sldId="1553"/>
        </pc:sldMkLst>
      </pc:sldChg>
      <pc:sldChg chg="add del">
        <pc:chgData name="Daniel Valero" userId="31dd2ff7-9a08-462f-9096-6c487a317220" providerId="ADAL" clId="{13C66EB5-766D-4A69-8EF8-1B215228E3C9}" dt="2020-02-24T20:29:19.383" v="439"/>
        <pc:sldMkLst>
          <pc:docMk/>
          <pc:sldMk cId="3734130775" sldId="1554"/>
        </pc:sldMkLst>
      </pc:sldChg>
      <pc:sldChg chg="add del">
        <pc:chgData name="Daniel Valero" userId="31dd2ff7-9a08-462f-9096-6c487a317220" providerId="ADAL" clId="{13C66EB5-766D-4A69-8EF8-1B215228E3C9}" dt="2020-02-24T20:29:19.383" v="439"/>
        <pc:sldMkLst>
          <pc:docMk/>
          <pc:sldMk cId="2477555516" sldId="1557"/>
        </pc:sldMkLst>
      </pc:sldChg>
      <pc:sldChg chg="add del">
        <pc:chgData name="Daniel Valero" userId="31dd2ff7-9a08-462f-9096-6c487a317220" providerId="ADAL" clId="{13C66EB5-766D-4A69-8EF8-1B215228E3C9}" dt="2020-02-24T20:29:19.383" v="439"/>
        <pc:sldMkLst>
          <pc:docMk/>
          <pc:sldMk cId="3084515726" sldId="1558"/>
        </pc:sldMkLst>
      </pc:sldChg>
      <pc:sldChg chg="add del">
        <pc:chgData name="Daniel Valero" userId="31dd2ff7-9a08-462f-9096-6c487a317220" providerId="ADAL" clId="{13C66EB5-766D-4A69-8EF8-1B215228E3C9}" dt="2020-02-24T20:29:19.383" v="439"/>
        <pc:sldMkLst>
          <pc:docMk/>
          <pc:sldMk cId="2613098337" sldId="1559"/>
        </pc:sldMkLst>
      </pc:sldChg>
      <pc:sldChg chg="add del">
        <pc:chgData name="Daniel Valero" userId="31dd2ff7-9a08-462f-9096-6c487a317220" providerId="ADAL" clId="{13C66EB5-766D-4A69-8EF8-1B215228E3C9}" dt="2020-02-24T20:29:19.383" v="439"/>
        <pc:sldMkLst>
          <pc:docMk/>
          <pc:sldMk cId="2319599772" sldId="1560"/>
        </pc:sldMkLst>
      </pc:sldChg>
      <pc:sldChg chg="add del">
        <pc:chgData name="Daniel Valero" userId="31dd2ff7-9a08-462f-9096-6c487a317220" providerId="ADAL" clId="{13C66EB5-766D-4A69-8EF8-1B215228E3C9}" dt="2020-02-24T20:29:19.383" v="439"/>
        <pc:sldMkLst>
          <pc:docMk/>
          <pc:sldMk cId="1909753479" sldId="1561"/>
        </pc:sldMkLst>
      </pc:sldChg>
      <pc:sldChg chg="add del">
        <pc:chgData name="Daniel Valero" userId="31dd2ff7-9a08-462f-9096-6c487a317220" providerId="ADAL" clId="{13C66EB5-766D-4A69-8EF8-1B215228E3C9}" dt="2020-02-24T20:29:19.383" v="439"/>
        <pc:sldMkLst>
          <pc:docMk/>
          <pc:sldMk cId="2077729028" sldId="1563"/>
        </pc:sldMkLst>
      </pc:sldChg>
      <pc:sldChg chg="add del">
        <pc:chgData name="Daniel Valero" userId="31dd2ff7-9a08-462f-9096-6c487a317220" providerId="ADAL" clId="{13C66EB5-766D-4A69-8EF8-1B215228E3C9}" dt="2020-02-24T20:29:19.383" v="439"/>
        <pc:sldMkLst>
          <pc:docMk/>
          <pc:sldMk cId="2352887102" sldId="1564"/>
        </pc:sldMkLst>
      </pc:sldChg>
      <pc:sldChg chg="add del">
        <pc:chgData name="Daniel Valero" userId="31dd2ff7-9a08-462f-9096-6c487a317220" providerId="ADAL" clId="{13C66EB5-766D-4A69-8EF8-1B215228E3C9}" dt="2020-02-24T20:29:19.383" v="439"/>
        <pc:sldMkLst>
          <pc:docMk/>
          <pc:sldMk cId="1864022674" sldId="1567"/>
        </pc:sldMkLst>
      </pc:sldChg>
      <pc:sldChg chg="add del">
        <pc:chgData name="Daniel Valero" userId="31dd2ff7-9a08-462f-9096-6c487a317220" providerId="ADAL" clId="{13C66EB5-766D-4A69-8EF8-1B215228E3C9}" dt="2020-02-24T20:29:19.383" v="439"/>
        <pc:sldMkLst>
          <pc:docMk/>
          <pc:sldMk cId="1798069288" sldId="1568"/>
        </pc:sldMkLst>
      </pc:sldChg>
      <pc:sldChg chg="add del">
        <pc:chgData name="Daniel Valero" userId="31dd2ff7-9a08-462f-9096-6c487a317220" providerId="ADAL" clId="{13C66EB5-766D-4A69-8EF8-1B215228E3C9}" dt="2020-02-24T20:29:19.383" v="439"/>
        <pc:sldMkLst>
          <pc:docMk/>
          <pc:sldMk cId="2278176409" sldId="1569"/>
        </pc:sldMkLst>
      </pc:sldChg>
      <pc:sldChg chg="add del">
        <pc:chgData name="Daniel Valero" userId="31dd2ff7-9a08-462f-9096-6c487a317220" providerId="ADAL" clId="{13C66EB5-766D-4A69-8EF8-1B215228E3C9}" dt="2020-02-24T20:29:19.383" v="439"/>
        <pc:sldMkLst>
          <pc:docMk/>
          <pc:sldMk cId="2687005851" sldId="1570"/>
        </pc:sldMkLst>
      </pc:sldChg>
      <pc:sldChg chg="add del">
        <pc:chgData name="Daniel Valero" userId="31dd2ff7-9a08-462f-9096-6c487a317220" providerId="ADAL" clId="{13C66EB5-766D-4A69-8EF8-1B215228E3C9}" dt="2020-02-24T20:29:19.383" v="439"/>
        <pc:sldMkLst>
          <pc:docMk/>
          <pc:sldMk cId="3142861671" sldId="1571"/>
        </pc:sldMkLst>
      </pc:sldChg>
      <pc:sldChg chg="add del">
        <pc:chgData name="Daniel Valero" userId="31dd2ff7-9a08-462f-9096-6c487a317220" providerId="ADAL" clId="{13C66EB5-766D-4A69-8EF8-1B215228E3C9}" dt="2020-02-24T20:29:19.383" v="439"/>
        <pc:sldMkLst>
          <pc:docMk/>
          <pc:sldMk cId="315594631" sldId="1572"/>
        </pc:sldMkLst>
      </pc:sldChg>
      <pc:sldChg chg="add del">
        <pc:chgData name="Daniel Valero" userId="31dd2ff7-9a08-462f-9096-6c487a317220" providerId="ADAL" clId="{13C66EB5-766D-4A69-8EF8-1B215228E3C9}" dt="2020-02-24T20:29:19.383" v="439"/>
        <pc:sldMkLst>
          <pc:docMk/>
          <pc:sldMk cId="556489978" sldId="1573"/>
        </pc:sldMkLst>
      </pc:sldChg>
      <pc:sldChg chg="add del">
        <pc:chgData name="Daniel Valero" userId="31dd2ff7-9a08-462f-9096-6c487a317220" providerId="ADAL" clId="{13C66EB5-766D-4A69-8EF8-1B215228E3C9}" dt="2020-02-24T20:29:19.383" v="439"/>
        <pc:sldMkLst>
          <pc:docMk/>
          <pc:sldMk cId="410262238" sldId="1574"/>
        </pc:sldMkLst>
      </pc:sldChg>
      <pc:sldChg chg="add del">
        <pc:chgData name="Daniel Valero" userId="31dd2ff7-9a08-462f-9096-6c487a317220" providerId="ADAL" clId="{13C66EB5-766D-4A69-8EF8-1B215228E3C9}" dt="2020-02-24T20:29:19.383" v="439"/>
        <pc:sldMkLst>
          <pc:docMk/>
          <pc:sldMk cId="2527236892" sldId="1575"/>
        </pc:sldMkLst>
      </pc:sldChg>
      <pc:sldChg chg="add del">
        <pc:chgData name="Daniel Valero" userId="31dd2ff7-9a08-462f-9096-6c487a317220" providerId="ADAL" clId="{13C66EB5-766D-4A69-8EF8-1B215228E3C9}" dt="2020-02-24T20:29:19.383" v="439"/>
        <pc:sldMkLst>
          <pc:docMk/>
          <pc:sldMk cId="956083507" sldId="1576"/>
        </pc:sldMkLst>
      </pc:sldChg>
      <pc:sldChg chg="add del">
        <pc:chgData name="Daniel Valero" userId="31dd2ff7-9a08-462f-9096-6c487a317220" providerId="ADAL" clId="{13C66EB5-766D-4A69-8EF8-1B215228E3C9}" dt="2020-02-24T20:29:19.383" v="439"/>
        <pc:sldMkLst>
          <pc:docMk/>
          <pc:sldMk cId="2440182661" sldId="1578"/>
        </pc:sldMkLst>
      </pc:sldChg>
      <pc:sldChg chg="add del">
        <pc:chgData name="Daniel Valero" userId="31dd2ff7-9a08-462f-9096-6c487a317220" providerId="ADAL" clId="{13C66EB5-766D-4A69-8EF8-1B215228E3C9}" dt="2020-02-24T20:29:19.383" v="439"/>
        <pc:sldMkLst>
          <pc:docMk/>
          <pc:sldMk cId="759317593" sldId="1579"/>
        </pc:sldMkLst>
      </pc:sldChg>
      <pc:sldChg chg="add del">
        <pc:chgData name="Daniel Valero" userId="31dd2ff7-9a08-462f-9096-6c487a317220" providerId="ADAL" clId="{13C66EB5-766D-4A69-8EF8-1B215228E3C9}" dt="2020-02-24T20:29:19.383" v="439"/>
        <pc:sldMkLst>
          <pc:docMk/>
          <pc:sldMk cId="3226818272" sldId="1582"/>
        </pc:sldMkLst>
      </pc:sldChg>
      <pc:sldChg chg="add del">
        <pc:chgData name="Daniel Valero" userId="31dd2ff7-9a08-462f-9096-6c487a317220" providerId="ADAL" clId="{13C66EB5-766D-4A69-8EF8-1B215228E3C9}" dt="2020-02-24T20:29:19.383" v="439"/>
        <pc:sldMkLst>
          <pc:docMk/>
          <pc:sldMk cId="512042155" sldId="1583"/>
        </pc:sldMkLst>
      </pc:sldChg>
      <pc:sldChg chg="add del">
        <pc:chgData name="Daniel Valero" userId="31dd2ff7-9a08-462f-9096-6c487a317220" providerId="ADAL" clId="{13C66EB5-766D-4A69-8EF8-1B215228E3C9}" dt="2020-02-24T20:29:19.383" v="439"/>
        <pc:sldMkLst>
          <pc:docMk/>
          <pc:sldMk cId="2728628212" sldId="1584"/>
        </pc:sldMkLst>
      </pc:sldChg>
      <pc:sldChg chg="add del">
        <pc:chgData name="Daniel Valero" userId="31dd2ff7-9a08-462f-9096-6c487a317220" providerId="ADAL" clId="{13C66EB5-766D-4A69-8EF8-1B215228E3C9}" dt="2020-02-24T20:29:19.383" v="439"/>
        <pc:sldMkLst>
          <pc:docMk/>
          <pc:sldMk cId="3021176347" sldId="1623"/>
        </pc:sldMkLst>
      </pc:sldChg>
      <pc:sldChg chg="add del">
        <pc:chgData name="Daniel Valero" userId="31dd2ff7-9a08-462f-9096-6c487a317220" providerId="ADAL" clId="{13C66EB5-766D-4A69-8EF8-1B215228E3C9}" dt="2020-02-24T20:29:19.383" v="439"/>
        <pc:sldMkLst>
          <pc:docMk/>
          <pc:sldMk cId="849862120" sldId="1625"/>
        </pc:sldMkLst>
      </pc:sldChg>
      <pc:sldChg chg="add del">
        <pc:chgData name="Daniel Valero" userId="31dd2ff7-9a08-462f-9096-6c487a317220" providerId="ADAL" clId="{13C66EB5-766D-4A69-8EF8-1B215228E3C9}" dt="2020-02-24T20:29:19.383" v="439"/>
        <pc:sldMkLst>
          <pc:docMk/>
          <pc:sldMk cId="1458211605" sldId="1627"/>
        </pc:sldMkLst>
      </pc:sldChg>
      <pc:sldChg chg="add del">
        <pc:chgData name="Daniel Valero" userId="31dd2ff7-9a08-462f-9096-6c487a317220" providerId="ADAL" clId="{13C66EB5-766D-4A69-8EF8-1B215228E3C9}" dt="2020-02-24T20:29:19.383" v="439"/>
        <pc:sldMkLst>
          <pc:docMk/>
          <pc:sldMk cId="473879106" sldId="1629"/>
        </pc:sldMkLst>
      </pc:sldChg>
      <pc:sldChg chg="modSp add del mod">
        <pc:chgData name="Daniel Valero" userId="31dd2ff7-9a08-462f-9096-6c487a317220" providerId="ADAL" clId="{13C66EB5-766D-4A69-8EF8-1B215228E3C9}" dt="2020-02-24T20:29:19.383" v="439"/>
        <pc:sldMkLst>
          <pc:docMk/>
          <pc:sldMk cId="2208622624" sldId="1631"/>
        </pc:sldMkLst>
        <pc:spChg chg="mod">
          <ac:chgData name="Daniel Valero" userId="31dd2ff7-9a08-462f-9096-6c487a317220" providerId="ADAL" clId="{13C66EB5-766D-4A69-8EF8-1B215228E3C9}" dt="2020-02-24T20:29:19.383" v="439"/>
          <ac:spMkLst>
            <pc:docMk/>
            <pc:sldMk cId="2208622624" sldId="1631"/>
            <ac:spMk id="3" creationId="{00000000-0000-0000-0000-000000000000}"/>
          </ac:spMkLst>
        </pc:spChg>
      </pc:sldChg>
      <pc:sldChg chg="add del">
        <pc:chgData name="Daniel Valero" userId="31dd2ff7-9a08-462f-9096-6c487a317220" providerId="ADAL" clId="{13C66EB5-766D-4A69-8EF8-1B215228E3C9}" dt="2020-02-24T20:29:19.383" v="439"/>
        <pc:sldMkLst>
          <pc:docMk/>
          <pc:sldMk cId="131980313" sldId="1632"/>
        </pc:sldMkLst>
      </pc:sldChg>
      <pc:sldChg chg="add del">
        <pc:chgData name="Daniel Valero" userId="31dd2ff7-9a08-462f-9096-6c487a317220" providerId="ADAL" clId="{13C66EB5-766D-4A69-8EF8-1B215228E3C9}" dt="2020-02-24T20:29:19.383" v="439"/>
        <pc:sldMkLst>
          <pc:docMk/>
          <pc:sldMk cId="3935566959" sldId="1633"/>
        </pc:sldMkLst>
      </pc:sldChg>
      <pc:sldChg chg="add del">
        <pc:chgData name="Daniel Valero" userId="31dd2ff7-9a08-462f-9096-6c487a317220" providerId="ADAL" clId="{13C66EB5-766D-4A69-8EF8-1B215228E3C9}" dt="2020-02-24T20:29:19.383" v="439"/>
        <pc:sldMkLst>
          <pc:docMk/>
          <pc:sldMk cId="1416453120" sldId="1634"/>
        </pc:sldMkLst>
      </pc:sldChg>
      <pc:sldChg chg="add del">
        <pc:chgData name="Daniel Valero" userId="31dd2ff7-9a08-462f-9096-6c487a317220" providerId="ADAL" clId="{13C66EB5-766D-4A69-8EF8-1B215228E3C9}" dt="2020-02-24T20:29:19.383" v="439"/>
        <pc:sldMkLst>
          <pc:docMk/>
          <pc:sldMk cId="2310885737" sldId="1635"/>
        </pc:sldMkLst>
      </pc:sldChg>
      <pc:sldChg chg="add del">
        <pc:chgData name="Daniel Valero" userId="31dd2ff7-9a08-462f-9096-6c487a317220" providerId="ADAL" clId="{13C66EB5-766D-4A69-8EF8-1B215228E3C9}" dt="2020-02-24T20:29:19.383" v="439"/>
        <pc:sldMkLst>
          <pc:docMk/>
          <pc:sldMk cId="3026454267" sldId="1638"/>
        </pc:sldMkLst>
      </pc:sldChg>
      <pc:sldChg chg="add del">
        <pc:chgData name="Daniel Valero" userId="31dd2ff7-9a08-462f-9096-6c487a317220" providerId="ADAL" clId="{13C66EB5-766D-4A69-8EF8-1B215228E3C9}" dt="2020-02-24T20:29:19.383" v="439"/>
        <pc:sldMkLst>
          <pc:docMk/>
          <pc:sldMk cId="2456128262" sldId="1641"/>
        </pc:sldMkLst>
      </pc:sldChg>
      <pc:sldChg chg="add del">
        <pc:chgData name="Daniel Valero" userId="31dd2ff7-9a08-462f-9096-6c487a317220" providerId="ADAL" clId="{13C66EB5-766D-4A69-8EF8-1B215228E3C9}" dt="2020-02-24T20:29:19.383" v="439"/>
        <pc:sldMkLst>
          <pc:docMk/>
          <pc:sldMk cId="427458265" sldId="1726"/>
        </pc:sldMkLst>
      </pc:sldChg>
    </pc:docChg>
  </pc:docChgLst>
  <pc:docChgLst>
    <pc:chgData name="Daniel Valero" userId="31dd2ff7-9a08-462f-9096-6c487a317220" providerId="ADAL" clId="{35116767-7705-4F31-BB14-507B37DB7D36}"/>
    <pc:docChg chg="undo custSel addSld modSld">
      <pc:chgData name="Daniel Valero" userId="31dd2ff7-9a08-462f-9096-6c487a317220" providerId="ADAL" clId="{35116767-7705-4F31-BB14-507B37DB7D36}" dt="2020-02-28T20:08:36.409" v="787" actId="20577"/>
      <pc:docMkLst>
        <pc:docMk/>
      </pc:docMkLst>
      <pc:sldChg chg="modSp modNotesTx">
        <pc:chgData name="Daniel Valero" userId="31dd2ff7-9a08-462f-9096-6c487a317220" providerId="ADAL" clId="{35116767-7705-4F31-BB14-507B37DB7D36}" dt="2020-02-28T19:36:31.464" v="379" actId="14100"/>
        <pc:sldMkLst>
          <pc:docMk/>
          <pc:sldMk cId="3735096506" sldId="563"/>
        </pc:sldMkLst>
        <pc:graphicFrameChg chg="mod">
          <ac:chgData name="Daniel Valero" userId="31dd2ff7-9a08-462f-9096-6c487a317220" providerId="ADAL" clId="{35116767-7705-4F31-BB14-507B37DB7D36}" dt="2020-02-28T19:36:31.464" v="379" actId="14100"/>
          <ac:graphicFrameMkLst>
            <pc:docMk/>
            <pc:sldMk cId="3735096506" sldId="563"/>
            <ac:graphicFrameMk id="3" creationId="{9484E1FE-7534-495E-863C-657A46F5E628}"/>
          </ac:graphicFrameMkLst>
        </pc:graphicFrameChg>
      </pc:sldChg>
      <pc:sldChg chg="modSp modNotesTx">
        <pc:chgData name="Daniel Valero" userId="31dd2ff7-9a08-462f-9096-6c487a317220" providerId="ADAL" clId="{35116767-7705-4F31-BB14-507B37DB7D36}" dt="2020-02-28T20:08:36.409" v="787" actId="20577"/>
        <pc:sldMkLst>
          <pc:docMk/>
          <pc:sldMk cId="2346840044" sldId="570"/>
        </pc:sldMkLst>
        <pc:graphicFrameChg chg="mod">
          <ac:chgData name="Daniel Valero" userId="31dd2ff7-9a08-462f-9096-6c487a317220" providerId="ADAL" clId="{35116767-7705-4F31-BB14-507B37DB7D36}" dt="2020-02-28T20:07:54.925" v="629" actId="255"/>
          <ac:graphicFrameMkLst>
            <pc:docMk/>
            <pc:sldMk cId="2346840044" sldId="570"/>
            <ac:graphicFrameMk id="3" creationId="{9484E1FE-7534-495E-863C-657A46F5E628}"/>
          </ac:graphicFrameMkLst>
        </pc:graphicFrameChg>
      </pc:sldChg>
      <pc:sldChg chg="modSp mod modNotesTx">
        <pc:chgData name="Daniel Valero" userId="31dd2ff7-9a08-462f-9096-6c487a317220" providerId="ADAL" clId="{35116767-7705-4F31-BB14-507B37DB7D36}" dt="2020-02-28T14:43:58.483" v="139" actId="790"/>
        <pc:sldMkLst>
          <pc:docMk/>
          <pc:sldMk cId="1487953619" sldId="574"/>
        </pc:sldMkLst>
        <pc:spChg chg="mod">
          <ac:chgData name="Daniel Valero" userId="31dd2ff7-9a08-462f-9096-6c487a317220" providerId="ADAL" clId="{35116767-7705-4F31-BB14-507B37DB7D36}" dt="2020-02-28T14:43:58.483" v="139" actId="790"/>
          <ac:spMkLst>
            <pc:docMk/>
            <pc:sldMk cId="1487953619" sldId="574"/>
            <ac:spMk id="3" creationId="{8F64A22E-2B43-4FC6-AF08-0CDB3F9E9269}"/>
          </ac:spMkLst>
        </pc:spChg>
        <pc:spChg chg="mod">
          <ac:chgData name="Daniel Valero" userId="31dd2ff7-9a08-462f-9096-6c487a317220" providerId="ADAL" clId="{35116767-7705-4F31-BB14-507B37DB7D36}" dt="2020-02-28T14:43:58.483" v="139" actId="790"/>
          <ac:spMkLst>
            <pc:docMk/>
            <pc:sldMk cId="1487953619" sldId="574"/>
            <ac:spMk id="6" creationId="{637E159C-9ACF-48AE-927A-D5FB13695C7F}"/>
          </ac:spMkLst>
        </pc:spChg>
      </pc:sldChg>
      <pc:sldChg chg="modSp mod modNotesTx">
        <pc:chgData name="Daniel Valero" userId="31dd2ff7-9a08-462f-9096-6c487a317220" providerId="ADAL" clId="{35116767-7705-4F31-BB14-507B37DB7D36}" dt="2020-02-28T19:39:46.438" v="466" actId="12"/>
        <pc:sldMkLst>
          <pc:docMk/>
          <pc:sldMk cId="508126509" sldId="618"/>
        </pc:sldMkLst>
        <pc:spChg chg="mod">
          <ac:chgData name="Daniel Valero" userId="31dd2ff7-9a08-462f-9096-6c487a317220" providerId="ADAL" clId="{35116767-7705-4F31-BB14-507B37DB7D36}" dt="2020-02-28T19:38:28.331" v="394" actId="20577"/>
          <ac:spMkLst>
            <pc:docMk/>
            <pc:sldMk cId="508126509" sldId="618"/>
            <ac:spMk id="5" creationId="{35622013-AD39-49E7-86B3-948ECEC8BF96}"/>
          </ac:spMkLst>
        </pc:spChg>
      </pc:sldChg>
      <pc:sldChg chg="addSp delSp modSp add mod modAnim modNotesTx">
        <pc:chgData name="Daniel Valero" userId="31dd2ff7-9a08-462f-9096-6c487a317220" providerId="ADAL" clId="{35116767-7705-4F31-BB14-507B37DB7D36}" dt="2020-02-28T14:50:17.951" v="221" actId="1076"/>
        <pc:sldMkLst>
          <pc:docMk/>
          <pc:sldMk cId="533282277" sldId="643"/>
        </pc:sldMkLst>
        <pc:spChg chg="mod">
          <ac:chgData name="Daniel Valero" userId="31dd2ff7-9a08-462f-9096-6c487a317220" providerId="ADAL" clId="{35116767-7705-4F31-BB14-507B37DB7D36}" dt="2020-02-28T14:45:25.088" v="157" actId="20577"/>
          <ac:spMkLst>
            <pc:docMk/>
            <pc:sldMk cId="533282277" sldId="643"/>
            <ac:spMk id="2" creationId="{EB67312A-9819-43C6-8D84-D9136E6CFFCC}"/>
          </ac:spMkLst>
        </pc:spChg>
        <pc:spChg chg="mod">
          <ac:chgData name="Daniel Valero" userId="31dd2ff7-9a08-462f-9096-6c487a317220" providerId="ADAL" clId="{35116767-7705-4F31-BB14-507B37DB7D36}" dt="2020-02-28T14:45:27.425" v="158" actId="20577"/>
          <ac:spMkLst>
            <pc:docMk/>
            <pc:sldMk cId="533282277" sldId="643"/>
            <ac:spMk id="3" creationId="{F35E8CBB-5A7D-4DEF-BAF7-8DD5D042F9E0}"/>
          </ac:spMkLst>
        </pc:spChg>
        <pc:spChg chg="del">
          <ac:chgData name="Daniel Valero" userId="31dd2ff7-9a08-462f-9096-6c487a317220" providerId="ADAL" clId="{35116767-7705-4F31-BB14-507B37DB7D36}" dt="2020-02-28T14:48:13.623" v="183" actId="478"/>
          <ac:spMkLst>
            <pc:docMk/>
            <pc:sldMk cId="533282277" sldId="643"/>
            <ac:spMk id="10" creationId="{D849FBAA-B952-4A0E-B335-4DA7E8810E6F}"/>
          </ac:spMkLst>
        </pc:spChg>
        <pc:spChg chg="mod">
          <ac:chgData name="Daniel Valero" userId="31dd2ff7-9a08-462f-9096-6c487a317220" providerId="ADAL" clId="{35116767-7705-4F31-BB14-507B37DB7D36}" dt="2020-02-28T14:50:02.037" v="215" actId="14100"/>
          <ac:spMkLst>
            <pc:docMk/>
            <pc:sldMk cId="533282277" sldId="643"/>
            <ac:spMk id="25" creationId="{A0CA769B-4521-40FE-9E23-E3CEDE217E0A}"/>
          </ac:spMkLst>
        </pc:spChg>
        <pc:spChg chg="del">
          <ac:chgData name="Daniel Valero" userId="31dd2ff7-9a08-462f-9096-6c487a317220" providerId="ADAL" clId="{35116767-7705-4F31-BB14-507B37DB7D36}" dt="2020-02-28T14:48:19.613" v="191" actId="478"/>
          <ac:spMkLst>
            <pc:docMk/>
            <pc:sldMk cId="533282277" sldId="643"/>
            <ac:spMk id="1055" creationId="{F00B3A03-6130-420C-B95C-E2AD40F5E487}"/>
          </ac:spMkLst>
        </pc:spChg>
        <pc:spChg chg="del">
          <ac:chgData name="Daniel Valero" userId="31dd2ff7-9a08-462f-9096-6c487a317220" providerId="ADAL" clId="{35116767-7705-4F31-BB14-507B37DB7D36}" dt="2020-02-28T14:48:18.877" v="189" actId="478"/>
          <ac:spMkLst>
            <pc:docMk/>
            <pc:sldMk cId="533282277" sldId="643"/>
            <ac:spMk id="1056" creationId="{32E46FD3-AEBB-451F-B31A-508292D09197}"/>
          </ac:spMkLst>
        </pc:spChg>
        <pc:spChg chg="del">
          <ac:chgData name="Daniel Valero" userId="31dd2ff7-9a08-462f-9096-6c487a317220" providerId="ADAL" clId="{35116767-7705-4F31-BB14-507B37DB7D36}" dt="2020-02-28T14:48:18.518" v="188" actId="478"/>
          <ac:spMkLst>
            <pc:docMk/>
            <pc:sldMk cId="533282277" sldId="643"/>
            <ac:spMk id="1057" creationId="{80896FA8-D6C4-436E-B7DC-E236FA2CA3AB}"/>
          </ac:spMkLst>
        </pc:spChg>
        <pc:spChg chg="del">
          <ac:chgData name="Daniel Valero" userId="31dd2ff7-9a08-462f-9096-6c487a317220" providerId="ADAL" clId="{35116767-7705-4F31-BB14-507B37DB7D36}" dt="2020-02-28T14:46:49.096" v="173" actId="478"/>
          <ac:spMkLst>
            <pc:docMk/>
            <pc:sldMk cId="533282277" sldId="643"/>
            <ac:spMk id="1058" creationId="{651C1716-2898-4C8D-809E-3633C37CBAA6}"/>
          </ac:spMkLst>
        </pc:spChg>
        <pc:spChg chg="del">
          <ac:chgData name="Daniel Valero" userId="31dd2ff7-9a08-462f-9096-6c487a317220" providerId="ADAL" clId="{35116767-7705-4F31-BB14-507B37DB7D36}" dt="2020-02-28T14:48:22.618" v="194" actId="478"/>
          <ac:spMkLst>
            <pc:docMk/>
            <pc:sldMk cId="533282277" sldId="643"/>
            <ac:spMk id="1060" creationId="{B9491C04-1F4A-4CCB-81EE-2626D51D0BFF}"/>
          </ac:spMkLst>
        </pc:spChg>
        <pc:spChg chg="del">
          <ac:chgData name="Daniel Valero" userId="31dd2ff7-9a08-462f-9096-6c487a317220" providerId="ADAL" clId="{35116767-7705-4F31-BB14-507B37DB7D36}" dt="2020-02-28T14:48:18.070" v="187" actId="478"/>
          <ac:spMkLst>
            <pc:docMk/>
            <pc:sldMk cId="533282277" sldId="643"/>
            <ac:spMk id="1062" creationId="{05416D1B-2264-432B-AD93-76355231569A}"/>
          </ac:spMkLst>
        </pc:spChg>
        <pc:spChg chg="del">
          <ac:chgData name="Daniel Valero" userId="31dd2ff7-9a08-462f-9096-6c487a317220" providerId="ADAL" clId="{35116767-7705-4F31-BB14-507B37DB7D36}" dt="2020-02-28T14:48:19.372" v="190" actId="478"/>
          <ac:spMkLst>
            <pc:docMk/>
            <pc:sldMk cId="533282277" sldId="643"/>
            <ac:spMk id="1063" creationId="{11F61184-85FF-486F-9471-F3E11BB00AC4}"/>
          </ac:spMkLst>
        </pc:spChg>
        <pc:spChg chg="del">
          <ac:chgData name="Daniel Valero" userId="31dd2ff7-9a08-462f-9096-6c487a317220" providerId="ADAL" clId="{35116767-7705-4F31-BB14-507B37DB7D36}" dt="2020-02-28T14:48:20.678" v="192" actId="478"/>
          <ac:spMkLst>
            <pc:docMk/>
            <pc:sldMk cId="533282277" sldId="643"/>
            <ac:spMk id="1065" creationId="{66DA1F2C-F0DC-49DC-95EE-111831E6B2A4}"/>
          </ac:spMkLst>
        </pc:spChg>
        <pc:spChg chg="del">
          <ac:chgData name="Daniel Valero" userId="31dd2ff7-9a08-462f-9096-6c487a317220" providerId="ADAL" clId="{35116767-7705-4F31-BB14-507B37DB7D36}" dt="2020-02-28T14:46:51.691" v="176" actId="478"/>
          <ac:spMkLst>
            <pc:docMk/>
            <pc:sldMk cId="533282277" sldId="643"/>
            <ac:spMk id="1066" creationId="{B567DE95-DB63-4767-8668-9E41C671A800}"/>
          </ac:spMkLst>
        </pc:spChg>
        <pc:spChg chg="del">
          <ac:chgData name="Daniel Valero" userId="31dd2ff7-9a08-462f-9096-6c487a317220" providerId="ADAL" clId="{35116767-7705-4F31-BB14-507B37DB7D36}" dt="2020-02-28T14:48:05.030" v="178" actId="478"/>
          <ac:spMkLst>
            <pc:docMk/>
            <pc:sldMk cId="533282277" sldId="643"/>
            <ac:spMk id="1067" creationId="{43CC88CF-D64A-4A07-9EE3-90438E7775FD}"/>
          </ac:spMkLst>
        </pc:spChg>
        <pc:spChg chg="del">
          <ac:chgData name="Daniel Valero" userId="31dd2ff7-9a08-462f-9096-6c487a317220" providerId="ADAL" clId="{35116767-7705-4F31-BB14-507B37DB7D36}" dt="2020-02-28T14:48:06.519" v="179" actId="478"/>
          <ac:spMkLst>
            <pc:docMk/>
            <pc:sldMk cId="533282277" sldId="643"/>
            <ac:spMk id="1068" creationId="{89CE7CC7-EABB-44B2-99FF-27EAE13600CB}"/>
          </ac:spMkLst>
        </pc:spChg>
        <pc:spChg chg="del">
          <ac:chgData name="Daniel Valero" userId="31dd2ff7-9a08-462f-9096-6c487a317220" providerId="ADAL" clId="{35116767-7705-4F31-BB14-507B37DB7D36}" dt="2020-02-28T14:46:51.229" v="175" actId="478"/>
          <ac:spMkLst>
            <pc:docMk/>
            <pc:sldMk cId="533282277" sldId="643"/>
            <ac:spMk id="1069" creationId="{C33B339F-6ABA-4A41-B84A-B44B7046FED8}"/>
          </ac:spMkLst>
        </pc:spChg>
        <pc:spChg chg="del">
          <ac:chgData name="Daniel Valero" userId="31dd2ff7-9a08-462f-9096-6c487a317220" providerId="ADAL" clId="{35116767-7705-4F31-BB14-507B37DB7D36}" dt="2020-02-28T14:48:21.588" v="193" actId="478"/>
          <ac:spMkLst>
            <pc:docMk/>
            <pc:sldMk cId="533282277" sldId="643"/>
            <ac:spMk id="1070" creationId="{A3DBEDC2-9F27-4612-BA61-675E12E5E64B}"/>
          </ac:spMkLst>
        </pc:spChg>
        <pc:spChg chg="del">
          <ac:chgData name="Daniel Valero" userId="31dd2ff7-9a08-462f-9096-6c487a317220" providerId="ADAL" clId="{35116767-7705-4F31-BB14-507B37DB7D36}" dt="2020-02-28T14:46:49.949" v="174" actId="478"/>
          <ac:spMkLst>
            <pc:docMk/>
            <pc:sldMk cId="533282277" sldId="643"/>
            <ac:spMk id="1071" creationId="{00CF231B-E9E0-4606-913A-CACE13970F8A}"/>
          </ac:spMkLst>
        </pc:spChg>
        <pc:spChg chg="del">
          <ac:chgData name="Daniel Valero" userId="31dd2ff7-9a08-462f-9096-6c487a317220" providerId="ADAL" clId="{35116767-7705-4F31-BB14-507B37DB7D36}" dt="2020-02-28T14:46:52.022" v="177" actId="478"/>
          <ac:spMkLst>
            <pc:docMk/>
            <pc:sldMk cId="533282277" sldId="643"/>
            <ac:spMk id="1072" creationId="{4B265A51-F1E7-4287-A936-7888AB378AE0}"/>
          </ac:spMkLst>
        </pc:spChg>
        <pc:spChg chg="del">
          <ac:chgData name="Daniel Valero" userId="31dd2ff7-9a08-462f-9096-6c487a317220" providerId="ADAL" clId="{35116767-7705-4F31-BB14-507B37DB7D36}" dt="2020-02-28T14:48:13.198" v="182" actId="478"/>
          <ac:spMkLst>
            <pc:docMk/>
            <pc:sldMk cId="533282277" sldId="643"/>
            <ac:spMk id="1075" creationId="{64FFB558-7E58-4C0C-A880-31FEE00A7443}"/>
          </ac:spMkLst>
        </pc:spChg>
        <pc:spChg chg="del">
          <ac:chgData name="Daniel Valero" userId="31dd2ff7-9a08-462f-9096-6c487a317220" providerId="ADAL" clId="{35116767-7705-4F31-BB14-507B37DB7D36}" dt="2020-02-28T14:48:12.799" v="181" actId="478"/>
          <ac:spMkLst>
            <pc:docMk/>
            <pc:sldMk cId="533282277" sldId="643"/>
            <ac:spMk id="1076" creationId="{93C5E27E-568B-4BDE-86D7-D1C1DDDC1B70}"/>
          </ac:spMkLst>
        </pc:spChg>
        <pc:spChg chg="del">
          <ac:chgData name="Daniel Valero" userId="31dd2ff7-9a08-462f-9096-6c487a317220" providerId="ADAL" clId="{35116767-7705-4F31-BB14-507B37DB7D36}" dt="2020-02-28T14:48:17.062" v="186" actId="478"/>
          <ac:spMkLst>
            <pc:docMk/>
            <pc:sldMk cId="533282277" sldId="643"/>
            <ac:spMk id="1077" creationId="{BE19056B-DD43-4013-BC94-ADC8016BAA48}"/>
          </ac:spMkLst>
        </pc:spChg>
        <pc:spChg chg="mod">
          <ac:chgData name="Daniel Valero" userId="31dd2ff7-9a08-462f-9096-6c487a317220" providerId="ADAL" clId="{35116767-7705-4F31-BB14-507B37DB7D36}" dt="2020-02-28T14:48:36.598" v="199" actId="1076"/>
          <ac:spMkLst>
            <pc:docMk/>
            <pc:sldMk cId="533282277" sldId="643"/>
            <ac:spMk id="1079" creationId="{3AA6775D-D966-4811-97C4-C2907A46E4AA}"/>
          </ac:spMkLst>
        </pc:spChg>
        <pc:spChg chg="add del mod">
          <ac:chgData name="Daniel Valero" userId="31dd2ff7-9a08-462f-9096-6c487a317220" providerId="ADAL" clId="{35116767-7705-4F31-BB14-507B37DB7D36}" dt="2020-02-28T14:48:36.598" v="199" actId="1076"/>
          <ac:spMkLst>
            <pc:docMk/>
            <pc:sldMk cId="533282277" sldId="643"/>
            <ac:spMk id="1080" creationId="{AFB09A86-7005-4A9B-B777-AB86C330EDEE}"/>
          </ac:spMkLst>
        </pc:spChg>
        <pc:spChg chg="mod">
          <ac:chgData name="Daniel Valero" userId="31dd2ff7-9a08-462f-9096-6c487a317220" providerId="ADAL" clId="{35116767-7705-4F31-BB14-507B37DB7D36}" dt="2020-02-28T14:48:36.598" v="199" actId="1076"/>
          <ac:spMkLst>
            <pc:docMk/>
            <pc:sldMk cId="533282277" sldId="643"/>
            <ac:spMk id="1081" creationId="{41795F5C-520F-4868-8BD9-A6CB8DF88D1C}"/>
          </ac:spMkLst>
        </pc:spChg>
        <pc:spChg chg="mod">
          <ac:chgData name="Daniel Valero" userId="31dd2ff7-9a08-462f-9096-6c487a317220" providerId="ADAL" clId="{35116767-7705-4F31-BB14-507B37DB7D36}" dt="2020-02-28T14:48:45.751" v="201" actId="1076"/>
          <ac:spMkLst>
            <pc:docMk/>
            <pc:sldMk cId="533282277" sldId="643"/>
            <ac:spMk id="1082" creationId="{570D5F95-377A-4854-B247-BFED16C17369}"/>
          </ac:spMkLst>
        </pc:spChg>
        <pc:spChg chg="mod">
          <ac:chgData name="Daniel Valero" userId="31dd2ff7-9a08-462f-9096-6c487a317220" providerId="ADAL" clId="{35116767-7705-4F31-BB14-507B37DB7D36}" dt="2020-02-28T14:48:50.608" v="202" actId="1076"/>
          <ac:spMkLst>
            <pc:docMk/>
            <pc:sldMk cId="533282277" sldId="643"/>
            <ac:spMk id="1083" creationId="{6F28D06C-6DC7-4084-BA23-5CB005D68DB3}"/>
          </ac:spMkLst>
        </pc:spChg>
        <pc:spChg chg="mod">
          <ac:chgData name="Daniel Valero" userId="31dd2ff7-9a08-462f-9096-6c487a317220" providerId="ADAL" clId="{35116767-7705-4F31-BB14-507B37DB7D36}" dt="2020-02-28T14:48:36.598" v="199" actId="1076"/>
          <ac:spMkLst>
            <pc:docMk/>
            <pc:sldMk cId="533282277" sldId="643"/>
            <ac:spMk id="1100" creationId="{112213A1-4F00-40E7-9C45-9DAAA13599BB}"/>
          </ac:spMkLst>
        </pc:spChg>
        <pc:spChg chg="mod">
          <ac:chgData name="Daniel Valero" userId="31dd2ff7-9a08-462f-9096-6c487a317220" providerId="ADAL" clId="{35116767-7705-4F31-BB14-507B37DB7D36}" dt="2020-02-28T14:49:08.870" v="204" actId="1076"/>
          <ac:spMkLst>
            <pc:docMk/>
            <pc:sldMk cId="533282277" sldId="643"/>
            <ac:spMk id="1101" creationId="{4C55F0EB-37C4-4303-B324-E5AFCC48B728}"/>
          </ac:spMkLst>
        </pc:spChg>
        <pc:spChg chg="mod">
          <ac:chgData name="Daniel Valero" userId="31dd2ff7-9a08-462f-9096-6c487a317220" providerId="ADAL" clId="{35116767-7705-4F31-BB14-507B37DB7D36}" dt="2020-02-28T14:48:36.598" v="199" actId="1076"/>
          <ac:spMkLst>
            <pc:docMk/>
            <pc:sldMk cId="533282277" sldId="643"/>
            <ac:spMk id="1102" creationId="{FB86E5D5-B0AC-44E2-84E1-DEB8EA0C9010}"/>
          </ac:spMkLst>
        </pc:spChg>
        <pc:spChg chg="mod">
          <ac:chgData name="Daniel Valero" userId="31dd2ff7-9a08-462f-9096-6c487a317220" providerId="ADAL" clId="{35116767-7705-4F31-BB14-507B37DB7D36}" dt="2020-02-28T14:48:36.598" v="199" actId="1076"/>
          <ac:spMkLst>
            <pc:docMk/>
            <pc:sldMk cId="533282277" sldId="643"/>
            <ac:spMk id="1103" creationId="{73D04621-C0F1-4D29-90B5-2A5FE1631DD4}"/>
          </ac:spMkLst>
        </pc:spChg>
        <pc:grpChg chg="del mod">
          <ac:chgData name="Daniel Valero" userId="31dd2ff7-9a08-462f-9096-6c487a317220" providerId="ADAL" clId="{35116767-7705-4F31-BB14-507B37DB7D36}" dt="2020-02-28T14:49:34.382" v="205" actId="478"/>
          <ac:grpSpMkLst>
            <pc:docMk/>
            <pc:sldMk cId="533282277" sldId="643"/>
            <ac:grpSpMk id="4" creationId="{6F6641C8-238E-4FF6-8C29-EF67968099DE}"/>
          </ac:grpSpMkLst>
        </pc:grpChg>
        <pc:grpChg chg="del">
          <ac:chgData name="Daniel Valero" userId="31dd2ff7-9a08-462f-9096-6c487a317220" providerId="ADAL" clId="{35116767-7705-4F31-BB14-507B37DB7D36}" dt="2020-02-28T14:45:29.580" v="159" actId="478"/>
          <ac:grpSpMkLst>
            <pc:docMk/>
            <pc:sldMk cId="533282277" sldId="643"/>
            <ac:grpSpMk id="5" creationId="{F0F7112D-E24F-4DBA-868D-469D58FB6FF7}"/>
          </ac:grpSpMkLst>
        </pc:grpChg>
        <pc:grpChg chg="del">
          <ac:chgData name="Daniel Valero" userId="31dd2ff7-9a08-462f-9096-6c487a317220" providerId="ADAL" clId="{35116767-7705-4F31-BB14-507B37DB7D36}" dt="2020-02-28T14:45:29.580" v="159" actId="478"/>
          <ac:grpSpMkLst>
            <pc:docMk/>
            <pc:sldMk cId="533282277" sldId="643"/>
            <ac:grpSpMk id="6" creationId="{CB3B7B55-5EE0-4DF8-A73E-B16A3A8389DF}"/>
          </ac:grpSpMkLst>
        </pc:grpChg>
        <pc:grpChg chg="del">
          <ac:chgData name="Daniel Valero" userId="31dd2ff7-9a08-462f-9096-6c487a317220" providerId="ADAL" clId="{35116767-7705-4F31-BB14-507B37DB7D36}" dt="2020-02-28T14:45:29.580" v="159" actId="478"/>
          <ac:grpSpMkLst>
            <pc:docMk/>
            <pc:sldMk cId="533282277" sldId="643"/>
            <ac:grpSpMk id="7" creationId="{8ED64774-DC35-43D4-8EFB-E164F814D55D}"/>
          </ac:grpSpMkLst>
        </pc:grpChg>
        <pc:grpChg chg="del">
          <ac:chgData name="Daniel Valero" userId="31dd2ff7-9a08-462f-9096-6c487a317220" providerId="ADAL" clId="{35116767-7705-4F31-BB14-507B37DB7D36}" dt="2020-02-28T14:45:29.580" v="159" actId="478"/>
          <ac:grpSpMkLst>
            <pc:docMk/>
            <pc:sldMk cId="533282277" sldId="643"/>
            <ac:grpSpMk id="8" creationId="{6AF95612-581F-407E-9087-9BB8A0426C40}"/>
          </ac:grpSpMkLst>
        </pc:grpChg>
        <pc:grpChg chg="del">
          <ac:chgData name="Daniel Valero" userId="31dd2ff7-9a08-462f-9096-6c487a317220" providerId="ADAL" clId="{35116767-7705-4F31-BB14-507B37DB7D36}" dt="2020-02-28T14:45:29.580" v="159" actId="478"/>
          <ac:grpSpMkLst>
            <pc:docMk/>
            <pc:sldMk cId="533282277" sldId="643"/>
            <ac:grpSpMk id="9" creationId="{267C3E52-AD07-43A7-982B-271DF45D09BA}"/>
          </ac:grpSpMkLst>
        </pc:grpChg>
        <pc:grpChg chg="del">
          <ac:chgData name="Daniel Valero" userId="31dd2ff7-9a08-462f-9096-6c487a317220" providerId="ADAL" clId="{35116767-7705-4F31-BB14-507B37DB7D36}" dt="2020-02-28T14:45:29.580" v="159" actId="478"/>
          <ac:grpSpMkLst>
            <pc:docMk/>
            <pc:sldMk cId="533282277" sldId="643"/>
            <ac:grpSpMk id="12" creationId="{C411CC39-74E5-4A7E-B112-4EC0D85D1F2F}"/>
          </ac:grpSpMkLst>
        </pc:grpChg>
        <pc:grpChg chg="del">
          <ac:chgData name="Daniel Valero" userId="31dd2ff7-9a08-462f-9096-6c487a317220" providerId="ADAL" clId="{35116767-7705-4F31-BB14-507B37DB7D36}" dt="2020-02-28T14:45:29.580" v="159" actId="478"/>
          <ac:grpSpMkLst>
            <pc:docMk/>
            <pc:sldMk cId="533282277" sldId="643"/>
            <ac:grpSpMk id="19" creationId="{1EDC6FEC-D99A-4BA5-AB1F-9D39AEA57B40}"/>
          </ac:grpSpMkLst>
        </pc:grpChg>
        <pc:grpChg chg="del">
          <ac:chgData name="Daniel Valero" userId="31dd2ff7-9a08-462f-9096-6c487a317220" providerId="ADAL" clId="{35116767-7705-4F31-BB14-507B37DB7D36}" dt="2020-02-28T14:45:29.580" v="159" actId="478"/>
          <ac:grpSpMkLst>
            <pc:docMk/>
            <pc:sldMk cId="533282277" sldId="643"/>
            <ac:grpSpMk id="21" creationId="{6CF57884-447D-4649-989B-ECF9230514EA}"/>
          </ac:grpSpMkLst>
        </pc:grpChg>
        <pc:grpChg chg="del">
          <ac:chgData name="Daniel Valero" userId="31dd2ff7-9a08-462f-9096-6c487a317220" providerId="ADAL" clId="{35116767-7705-4F31-BB14-507B37DB7D36}" dt="2020-02-28T14:45:29.580" v="159" actId="478"/>
          <ac:grpSpMkLst>
            <pc:docMk/>
            <pc:sldMk cId="533282277" sldId="643"/>
            <ac:grpSpMk id="23" creationId="{3F9E4E81-2B8D-4177-8648-201099D80467}"/>
          </ac:grpSpMkLst>
        </pc:grpChg>
        <pc:grpChg chg="del">
          <ac:chgData name="Daniel Valero" userId="31dd2ff7-9a08-462f-9096-6c487a317220" providerId="ADAL" clId="{35116767-7705-4F31-BB14-507B37DB7D36}" dt="2020-02-28T14:45:29.580" v="159" actId="478"/>
          <ac:grpSpMkLst>
            <pc:docMk/>
            <pc:sldMk cId="533282277" sldId="643"/>
            <ac:grpSpMk id="24" creationId="{88485792-F2D9-461E-AA27-50A159161417}"/>
          </ac:grpSpMkLst>
        </pc:grpChg>
        <pc:grpChg chg="del">
          <ac:chgData name="Daniel Valero" userId="31dd2ff7-9a08-462f-9096-6c487a317220" providerId="ADAL" clId="{35116767-7705-4F31-BB14-507B37DB7D36}" dt="2020-02-28T14:45:29.580" v="159" actId="478"/>
          <ac:grpSpMkLst>
            <pc:docMk/>
            <pc:sldMk cId="533282277" sldId="643"/>
            <ac:grpSpMk id="26" creationId="{D6472D49-011D-4162-8EEB-A9AC9FDD76A7}"/>
          </ac:grpSpMkLst>
        </pc:grpChg>
        <pc:grpChg chg="del">
          <ac:chgData name="Daniel Valero" userId="31dd2ff7-9a08-462f-9096-6c487a317220" providerId="ADAL" clId="{35116767-7705-4F31-BB14-507B37DB7D36}" dt="2020-02-28T14:45:29.580" v="159" actId="478"/>
          <ac:grpSpMkLst>
            <pc:docMk/>
            <pc:sldMk cId="533282277" sldId="643"/>
            <ac:grpSpMk id="30" creationId="{9EDF4A98-445D-4F83-9960-16985F28727D}"/>
          </ac:grpSpMkLst>
        </pc:grpChg>
        <pc:picChg chg="add del mod">
          <ac:chgData name="Daniel Valero" userId="31dd2ff7-9a08-462f-9096-6c487a317220" providerId="ADAL" clId="{35116767-7705-4F31-BB14-507B37DB7D36}" dt="2020-02-28T14:46:44.131" v="172" actId="338"/>
          <ac:picMkLst>
            <pc:docMk/>
            <pc:sldMk cId="533282277" sldId="643"/>
            <ac:picMk id="41" creationId="{96A8CE90-2AF0-484E-A0C9-524B65CBA02F}"/>
          </ac:picMkLst>
        </pc:picChg>
        <pc:picChg chg="add mod modCrop">
          <ac:chgData name="Daniel Valero" userId="31dd2ff7-9a08-462f-9096-6c487a317220" providerId="ADAL" clId="{35116767-7705-4F31-BB14-507B37DB7D36}" dt="2020-02-28T14:50:17.951" v="221" actId="1076"/>
          <ac:picMkLst>
            <pc:docMk/>
            <pc:sldMk cId="533282277" sldId="643"/>
            <ac:picMk id="146" creationId="{DCDC4352-0985-424C-A624-189A317CDABE}"/>
          </ac:picMkLst>
        </pc:picChg>
      </pc:sldChg>
    </pc:docChg>
  </pc:docChgLst>
  <pc:docChgLst>
    <pc:chgData name="Steve Hord" userId="7478402321db30a2" providerId="LiveId" clId="{9F0232C1-7AC5-4875-B63C-538748ED1973}"/>
    <pc:docChg chg="undo modSld">
      <pc:chgData name="Steve Hord" userId="7478402321db30a2" providerId="LiveId" clId="{9F0232C1-7AC5-4875-B63C-538748ED1973}" dt="2020-04-21T21:42:18.933" v="200" actId="20577"/>
      <pc:docMkLst>
        <pc:docMk/>
      </pc:docMkLst>
      <pc:sldChg chg="modSp modNotesTx">
        <pc:chgData name="Steve Hord" userId="7478402321db30a2" providerId="LiveId" clId="{9F0232C1-7AC5-4875-B63C-538748ED1973}" dt="2020-04-21T18:10:08.701" v="10" actId="20577"/>
        <pc:sldMkLst>
          <pc:docMk/>
          <pc:sldMk cId="3235270007" sldId="257"/>
        </pc:sldMkLst>
        <pc:graphicFrameChg chg="mod">
          <ac:chgData name="Steve Hord" userId="7478402321db30a2" providerId="LiveId" clId="{9F0232C1-7AC5-4875-B63C-538748ED1973}" dt="2020-04-21T17:38:43.605" v="7" actId="255"/>
          <ac:graphicFrameMkLst>
            <pc:docMk/>
            <pc:sldMk cId="3235270007" sldId="257"/>
            <ac:graphicFrameMk id="10" creationId="{2E361A70-62E8-4C24-8093-F2EEBBF0058D}"/>
          </ac:graphicFrameMkLst>
        </pc:graphicFrameChg>
      </pc:sldChg>
      <pc:sldChg chg="modNotesTx">
        <pc:chgData name="Steve Hord" userId="7478402321db30a2" providerId="LiveId" clId="{9F0232C1-7AC5-4875-B63C-538748ED1973}" dt="2020-04-21T19:07:38.108" v="40" actId="114"/>
        <pc:sldMkLst>
          <pc:docMk/>
          <pc:sldMk cId="4267675391" sldId="531"/>
        </pc:sldMkLst>
      </pc:sldChg>
      <pc:sldChg chg="modSp">
        <pc:chgData name="Steve Hord" userId="7478402321db30a2" providerId="LiveId" clId="{9F0232C1-7AC5-4875-B63C-538748ED1973}" dt="2020-04-21T17:36:26.301" v="2" actId="20577"/>
        <pc:sldMkLst>
          <pc:docMk/>
          <pc:sldMk cId="2621600474" sldId="534"/>
        </pc:sldMkLst>
        <pc:spChg chg="mod">
          <ac:chgData name="Steve Hord" userId="7478402321db30a2" providerId="LiveId" clId="{9F0232C1-7AC5-4875-B63C-538748ED1973}" dt="2020-04-21T17:36:26.301" v="2" actId="20577"/>
          <ac:spMkLst>
            <pc:docMk/>
            <pc:sldMk cId="2621600474" sldId="534"/>
            <ac:spMk id="5" creationId="{55182462-DFDF-4D48-A92C-42FD52821C4E}"/>
          </ac:spMkLst>
        </pc:spChg>
      </pc:sldChg>
      <pc:sldChg chg="modSp">
        <pc:chgData name="Steve Hord" userId="7478402321db30a2" providerId="LiveId" clId="{9F0232C1-7AC5-4875-B63C-538748ED1973}" dt="2020-04-21T19:07:53.459" v="41" actId="255"/>
        <pc:sldMkLst>
          <pc:docMk/>
          <pc:sldMk cId="2980146838" sldId="560"/>
        </pc:sldMkLst>
        <pc:spChg chg="mod">
          <ac:chgData name="Steve Hord" userId="7478402321db30a2" providerId="LiveId" clId="{9F0232C1-7AC5-4875-B63C-538748ED1973}" dt="2020-04-21T19:07:53.459" v="41" actId="255"/>
          <ac:spMkLst>
            <pc:docMk/>
            <pc:sldMk cId="2980146838" sldId="560"/>
            <ac:spMk id="2" creationId="{4615BB0C-211A-4A6B-A4FE-D9C725309C49}"/>
          </ac:spMkLst>
        </pc:spChg>
      </pc:sldChg>
      <pc:sldChg chg="modSp modNotesTx">
        <pc:chgData name="Steve Hord" userId="7478402321db30a2" providerId="LiveId" clId="{9F0232C1-7AC5-4875-B63C-538748ED1973}" dt="2020-04-21T19:13:09.875" v="49" actId="20577"/>
        <pc:sldMkLst>
          <pc:docMk/>
          <pc:sldMk cId="3735096506" sldId="563"/>
        </pc:sldMkLst>
        <pc:graphicFrameChg chg="mod">
          <ac:chgData name="Steve Hord" userId="7478402321db30a2" providerId="LiveId" clId="{9F0232C1-7AC5-4875-B63C-538748ED1973}" dt="2020-04-21T19:10:06.540" v="46" actId="20577"/>
          <ac:graphicFrameMkLst>
            <pc:docMk/>
            <pc:sldMk cId="3735096506" sldId="563"/>
            <ac:graphicFrameMk id="3" creationId="{9484E1FE-7534-495E-863C-657A46F5E628}"/>
          </ac:graphicFrameMkLst>
        </pc:graphicFrameChg>
      </pc:sldChg>
      <pc:sldChg chg="modSp">
        <pc:chgData name="Steve Hord" userId="7478402321db30a2" providerId="LiveId" clId="{9F0232C1-7AC5-4875-B63C-538748ED1973}" dt="2020-04-21T19:14:03.760" v="53" actId="20577"/>
        <pc:sldMkLst>
          <pc:docMk/>
          <pc:sldMk cId="2034824179" sldId="565"/>
        </pc:sldMkLst>
        <pc:spChg chg="mod">
          <ac:chgData name="Steve Hord" userId="7478402321db30a2" providerId="LiveId" clId="{9F0232C1-7AC5-4875-B63C-538748ED1973}" dt="2020-04-21T19:14:03.760" v="53" actId="20577"/>
          <ac:spMkLst>
            <pc:docMk/>
            <pc:sldMk cId="2034824179" sldId="565"/>
            <ac:spMk id="5" creationId="{55182462-DFDF-4D48-A92C-42FD52821C4E}"/>
          </ac:spMkLst>
        </pc:spChg>
      </pc:sldChg>
      <pc:sldChg chg="modNotesTx">
        <pc:chgData name="Steve Hord" userId="7478402321db30a2" providerId="LiveId" clId="{9F0232C1-7AC5-4875-B63C-538748ED1973}" dt="2020-04-21T19:51:50.276" v="64" actId="114"/>
        <pc:sldMkLst>
          <pc:docMk/>
          <pc:sldMk cId="670385602" sldId="567"/>
        </pc:sldMkLst>
      </pc:sldChg>
      <pc:sldChg chg="modSp">
        <pc:chgData name="Steve Hord" userId="7478402321db30a2" providerId="LiveId" clId="{9F0232C1-7AC5-4875-B63C-538748ED1973}" dt="2020-04-21T19:52:17.338" v="65" actId="255"/>
        <pc:sldMkLst>
          <pc:docMk/>
          <pc:sldMk cId="1617064737" sldId="569"/>
        </pc:sldMkLst>
        <pc:spChg chg="mod">
          <ac:chgData name="Steve Hord" userId="7478402321db30a2" providerId="LiveId" clId="{9F0232C1-7AC5-4875-B63C-538748ED1973}" dt="2020-04-21T19:52:17.338" v="65" actId="255"/>
          <ac:spMkLst>
            <pc:docMk/>
            <pc:sldMk cId="1617064737" sldId="569"/>
            <ac:spMk id="2" creationId="{4615BB0C-211A-4A6B-A4FE-D9C725309C49}"/>
          </ac:spMkLst>
        </pc:spChg>
      </pc:sldChg>
      <pc:sldChg chg="modSp modNotesTx">
        <pc:chgData name="Steve Hord" userId="7478402321db30a2" providerId="LiveId" clId="{9F0232C1-7AC5-4875-B63C-538748ED1973}" dt="2020-04-21T19:56:00.921" v="81" actId="20577"/>
        <pc:sldMkLst>
          <pc:docMk/>
          <pc:sldMk cId="2346840044" sldId="570"/>
        </pc:sldMkLst>
        <pc:graphicFrameChg chg="mod">
          <ac:chgData name="Steve Hord" userId="7478402321db30a2" providerId="LiveId" clId="{9F0232C1-7AC5-4875-B63C-538748ED1973}" dt="2020-04-21T19:55:29.299" v="79" actId="20577"/>
          <ac:graphicFrameMkLst>
            <pc:docMk/>
            <pc:sldMk cId="2346840044" sldId="570"/>
            <ac:graphicFrameMk id="3" creationId="{9484E1FE-7534-495E-863C-657A46F5E628}"/>
          </ac:graphicFrameMkLst>
        </pc:graphicFrameChg>
      </pc:sldChg>
      <pc:sldChg chg="modSp">
        <pc:chgData name="Steve Hord" userId="7478402321db30a2" providerId="LiveId" clId="{9F0232C1-7AC5-4875-B63C-538748ED1973}" dt="2020-04-21T19:57:47.387" v="84" actId="20577"/>
        <pc:sldMkLst>
          <pc:docMk/>
          <pc:sldMk cId="2314306782" sldId="572"/>
        </pc:sldMkLst>
        <pc:spChg chg="mod">
          <ac:chgData name="Steve Hord" userId="7478402321db30a2" providerId="LiveId" clId="{9F0232C1-7AC5-4875-B63C-538748ED1973}" dt="2020-04-21T19:57:47.387" v="84" actId="20577"/>
          <ac:spMkLst>
            <pc:docMk/>
            <pc:sldMk cId="2314306782" sldId="572"/>
            <ac:spMk id="5" creationId="{55182462-DFDF-4D48-A92C-42FD52821C4E}"/>
          </ac:spMkLst>
        </pc:spChg>
      </pc:sldChg>
      <pc:sldChg chg="modSp modNotesTx">
        <pc:chgData name="Steve Hord" userId="7478402321db30a2" providerId="LiveId" clId="{9F0232C1-7AC5-4875-B63C-538748ED1973}" dt="2020-04-21T20:44:22.123" v="129" actId="114"/>
        <pc:sldMkLst>
          <pc:docMk/>
          <pc:sldMk cId="1487953619" sldId="574"/>
        </pc:sldMkLst>
        <pc:spChg chg="mod">
          <ac:chgData name="Steve Hord" userId="7478402321db30a2" providerId="LiveId" clId="{9F0232C1-7AC5-4875-B63C-538748ED1973}" dt="2020-04-21T20:44:10.227" v="127" actId="20577"/>
          <ac:spMkLst>
            <pc:docMk/>
            <pc:sldMk cId="1487953619" sldId="574"/>
            <ac:spMk id="6" creationId="{637E159C-9ACF-48AE-927A-D5FB13695C7F}"/>
          </ac:spMkLst>
        </pc:spChg>
      </pc:sldChg>
      <pc:sldChg chg="modSp">
        <pc:chgData name="Steve Hord" userId="7478402321db30a2" providerId="LiveId" clId="{9F0232C1-7AC5-4875-B63C-538748ED1973}" dt="2020-04-21T20:45:18.651" v="130" actId="255"/>
        <pc:sldMkLst>
          <pc:docMk/>
          <pc:sldMk cId="1775931326" sldId="576"/>
        </pc:sldMkLst>
        <pc:spChg chg="mod">
          <ac:chgData name="Steve Hord" userId="7478402321db30a2" providerId="LiveId" clId="{9F0232C1-7AC5-4875-B63C-538748ED1973}" dt="2020-04-21T20:45:18.651" v="130" actId="255"/>
          <ac:spMkLst>
            <pc:docMk/>
            <pc:sldMk cId="1775931326" sldId="576"/>
            <ac:spMk id="2" creationId="{4615BB0C-211A-4A6B-A4FE-D9C725309C49}"/>
          </ac:spMkLst>
        </pc:spChg>
      </pc:sldChg>
      <pc:sldChg chg="modSp modNotesTx">
        <pc:chgData name="Steve Hord" userId="7478402321db30a2" providerId="LiveId" clId="{9F0232C1-7AC5-4875-B63C-538748ED1973}" dt="2020-04-21T20:49:46.653" v="140" actId="20577"/>
        <pc:sldMkLst>
          <pc:docMk/>
          <pc:sldMk cId="4206133277" sldId="577"/>
        </pc:sldMkLst>
        <pc:graphicFrameChg chg="mod">
          <ac:chgData name="Steve Hord" userId="7478402321db30a2" providerId="LiveId" clId="{9F0232C1-7AC5-4875-B63C-538748ED1973}" dt="2020-04-21T20:47:10.890" v="136" actId="255"/>
          <ac:graphicFrameMkLst>
            <pc:docMk/>
            <pc:sldMk cId="4206133277" sldId="577"/>
            <ac:graphicFrameMk id="3" creationId="{9484E1FE-7534-495E-863C-657A46F5E628}"/>
          </ac:graphicFrameMkLst>
        </pc:graphicFrameChg>
      </pc:sldChg>
      <pc:sldChg chg="modSp">
        <pc:chgData name="Steve Hord" userId="7478402321db30a2" providerId="LiveId" clId="{9F0232C1-7AC5-4875-B63C-538748ED1973}" dt="2020-04-21T20:50:28.263" v="142" actId="20577"/>
        <pc:sldMkLst>
          <pc:docMk/>
          <pc:sldMk cId="3424530645" sldId="579"/>
        </pc:sldMkLst>
        <pc:spChg chg="mod">
          <ac:chgData name="Steve Hord" userId="7478402321db30a2" providerId="LiveId" clId="{9F0232C1-7AC5-4875-B63C-538748ED1973}" dt="2020-04-21T20:50:28.263" v="142" actId="20577"/>
          <ac:spMkLst>
            <pc:docMk/>
            <pc:sldMk cId="3424530645" sldId="579"/>
            <ac:spMk id="5" creationId="{55182462-DFDF-4D48-A92C-42FD52821C4E}"/>
          </ac:spMkLst>
        </pc:spChg>
      </pc:sldChg>
      <pc:sldChg chg="modNotesTx">
        <pc:chgData name="Steve Hord" userId="7478402321db30a2" providerId="LiveId" clId="{9F0232C1-7AC5-4875-B63C-538748ED1973}" dt="2020-04-21T21:38:02.717" v="189" actId="114"/>
        <pc:sldMkLst>
          <pc:docMk/>
          <pc:sldMk cId="3006523152" sldId="581"/>
        </pc:sldMkLst>
      </pc:sldChg>
      <pc:sldChg chg="modSp">
        <pc:chgData name="Steve Hord" userId="7478402321db30a2" providerId="LiveId" clId="{9F0232C1-7AC5-4875-B63C-538748ED1973}" dt="2020-04-21T21:39:08.329" v="193" actId="1076"/>
        <pc:sldMkLst>
          <pc:docMk/>
          <pc:sldMk cId="1528516655" sldId="582"/>
        </pc:sldMkLst>
        <pc:spChg chg="mod">
          <ac:chgData name="Steve Hord" userId="7478402321db30a2" providerId="LiveId" clId="{9F0232C1-7AC5-4875-B63C-538748ED1973}" dt="2020-04-21T21:39:08.329" v="193" actId="1076"/>
          <ac:spMkLst>
            <pc:docMk/>
            <pc:sldMk cId="1528516655" sldId="582"/>
            <ac:spMk id="3" creationId="{4897B8F8-26DF-42FB-ACB0-59929F1C2344}"/>
          </ac:spMkLst>
        </pc:spChg>
      </pc:sldChg>
      <pc:sldChg chg="modSp">
        <pc:chgData name="Steve Hord" userId="7478402321db30a2" providerId="LiveId" clId="{9F0232C1-7AC5-4875-B63C-538748ED1973}" dt="2020-04-21T21:39:42.759" v="194" actId="255"/>
        <pc:sldMkLst>
          <pc:docMk/>
          <pc:sldMk cId="376975876" sldId="583"/>
        </pc:sldMkLst>
        <pc:spChg chg="mod">
          <ac:chgData name="Steve Hord" userId="7478402321db30a2" providerId="LiveId" clId="{9F0232C1-7AC5-4875-B63C-538748ED1973}" dt="2020-04-21T21:39:42.759" v="194" actId="255"/>
          <ac:spMkLst>
            <pc:docMk/>
            <pc:sldMk cId="376975876" sldId="583"/>
            <ac:spMk id="2" creationId="{4615BB0C-211A-4A6B-A4FE-D9C725309C49}"/>
          </ac:spMkLst>
        </pc:spChg>
      </pc:sldChg>
      <pc:sldChg chg="modSp modNotesTx">
        <pc:chgData name="Steve Hord" userId="7478402321db30a2" providerId="LiveId" clId="{9F0232C1-7AC5-4875-B63C-538748ED1973}" dt="2020-04-21T21:42:18.933" v="200" actId="20577"/>
        <pc:sldMkLst>
          <pc:docMk/>
          <pc:sldMk cId="2444463328" sldId="584"/>
        </pc:sldMkLst>
        <pc:graphicFrameChg chg="mod">
          <ac:chgData name="Steve Hord" userId="7478402321db30a2" providerId="LiveId" clId="{9F0232C1-7AC5-4875-B63C-538748ED1973}" dt="2020-04-21T21:41:18.633" v="199" actId="255"/>
          <ac:graphicFrameMkLst>
            <pc:docMk/>
            <pc:sldMk cId="2444463328" sldId="584"/>
            <ac:graphicFrameMk id="3" creationId="{9484E1FE-7534-495E-863C-657A46F5E628}"/>
          </ac:graphicFrameMkLst>
        </pc:graphicFrameChg>
      </pc:sldChg>
      <pc:sldChg chg="modSp">
        <pc:chgData name="Steve Hord" userId="7478402321db30a2" providerId="LiveId" clId="{9F0232C1-7AC5-4875-B63C-538748ED1973}" dt="2020-04-21T18:20:45.297" v="18" actId="20577"/>
        <pc:sldMkLst>
          <pc:docMk/>
          <pc:sldMk cId="2669391059" sldId="596"/>
        </pc:sldMkLst>
        <pc:graphicFrameChg chg="mod">
          <ac:chgData name="Steve Hord" userId="7478402321db30a2" providerId="LiveId" clId="{9F0232C1-7AC5-4875-B63C-538748ED1973}" dt="2020-04-21T18:20:45.297" v="18" actId="20577"/>
          <ac:graphicFrameMkLst>
            <pc:docMk/>
            <pc:sldMk cId="2669391059" sldId="596"/>
            <ac:graphicFrameMk id="4" creationId="{D437032D-66F5-4217-A6E7-5417D8E385E2}"/>
          </ac:graphicFrameMkLst>
        </pc:graphicFrameChg>
      </pc:sldChg>
      <pc:sldChg chg="modSp">
        <pc:chgData name="Steve Hord" userId="7478402321db30a2" providerId="LiveId" clId="{9F0232C1-7AC5-4875-B63C-538748ED1973}" dt="2020-04-21T18:48:52.185" v="24" actId="20577"/>
        <pc:sldMkLst>
          <pc:docMk/>
          <pc:sldMk cId="200290157" sldId="599"/>
        </pc:sldMkLst>
        <pc:spChg chg="mod">
          <ac:chgData name="Steve Hord" userId="7478402321db30a2" providerId="LiveId" clId="{9F0232C1-7AC5-4875-B63C-538748ED1973}" dt="2020-04-21T18:48:52.185" v="24" actId="20577"/>
          <ac:spMkLst>
            <pc:docMk/>
            <pc:sldMk cId="200290157" sldId="599"/>
            <ac:spMk id="4" creationId="{F3616A99-090F-45E1-9334-58D58B148205}"/>
          </ac:spMkLst>
        </pc:spChg>
      </pc:sldChg>
      <pc:sldChg chg="modSp modNotesTx">
        <pc:chgData name="Steve Hord" userId="7478402321db30a2" providerId="LiveId" clId="{9F0232C1-7AC5-4875-B63C-538748ED1973}" dt="2020-04-21T19:06:20.238" v="39" actId="113"/>
        <pc:sldMkLst>
          <pc:docMk/>
          <pc:sldMk cId="3121385187" sldId="601"/>
        </pc:sldMkLst>
        <pc:spChg chg="mod">
          <ac:chgData name="Steve Hord" userId="7478402321db30a2" providerId="LiveId" clId="{9F0232C1-7AC5-4875-B63C-538748ED1973}" dt="2020-04-21T19:00:43.451" v="36" actId="20577"/>
          <ac:spMkLst>
            <pc:docMk/>
            <pc:sldMk cId="3121385187" sldId="601"/>
            <ac:spMk id="10" creationId="{3A22AD52-9F23-476C-B2F0-713E08695664}"/>
          </ac:spMkLst>
        </pc:spChg>
      </pc:sldChg>
      <pc:sldChg chg="modNotesTx">
        <pc:chgData name="Steve Hord" userId="7478402321db30a2" providerId="LiveId" clId="{9F0232C1-7AC5-4875-B63C-538748ED1973}" dt="2020-04-21T20:05:04.411" v="93" actId="20577"/>
        <pc:sldMkLst>
          <pc:docMk/>
          <pc:sldMk cId="1081358570" sldId="603"/>
        </pc:sldMkLst>
      </pc:sldChg>
      <pc:sldChg chg="modSp modNotesTx">
        <pc:chgData name="Steve Hord" userId="7478402321db30a2" providerId="LiveId" clId="{9F0232C1-7AC5-4875-B63C-538748ED1973}" dt="2020-04-21T20:14:20.115" v="116" actId="114"/>
        <pc:sldMkLst>
          <pc:docMk/>
          <pc:sldMk cId="2735926192" sldId="604"/>
        </pc:sldMkLst>
        <pc:spChg chg="mod">
          <ac:chgData name="Steve Hord" userId="7478402321db30a2" providerId="LiveId" clId="{9F0232C1-7AC5-4875-B63C-538748ED1973}" dt="2020-04-21T20:13:47.265" v="115" actId="20577"/>
          <ac:spMkLst>
            <pc:docMk/>
            <pc:sldMk cId="2735926192" sldId="604"/>
            <ac:spMk id="25" creationId="{A0CA769B-4521-40FE-9E23-E3CEDE217E0A}"/>
          </ac:spMkLst>
        </pc:spChg>
      </pc:sldChg>
      <pc:sldChg chg="modSp">
        <pc:chgData name="Steve Hord" userId="7478402321db30a2" providerId="LiveId" clId="{9F0232C1-7AC5-4875-B63C-538748ED1973}" dt="2020-04-21T20:18:06.978" v="120" actId="2711"/>
        <pc:sldMkLst>
          <pc:docMk/>
          <pc:sldMk cId="451523490" sldId="605"/>
        </pc:sldMkLst>
        <pc:spChg chg="mod">
          <ac:chgData name="Steve Hord" userId="7478402321db30a2" providerId="LiveId" clId="{9F0232C1-7AC5-4875-B63C-538748ED1973}" dt="2020-04-21T20:18:06.978" v="120" actId="2711"/>
          <ac:spMkLst>
            <pc:docMk/>
            <pc:sldMk cId="451523490" sldId="605"/>
            <ac:spMk id="9" creationId="{5CF14BD0-AFDA-488D-BF1F-B83A8143DA2F}"/>
          </ac:spMkLst>
        </pc:spChg>
      </pc:sldChg>
      <pc:sldChg chg="modSp">
        <pc:chgData name="Steve Hord" userId="7478402321db30a2" providerId="LiveId" clId="{9F0232C1-7AC5-4875-B63C-538748ED1973}" dt="2020-04-21T20:00:25.652" v="87" actId="14100"/>
        <pc:sldMkLst>
          <pc:docMk/>
          <pc:sldMk cId="110240023" sldId="607"/>
        </pc:sldMkLst>
        <pc:spChg chg="mod">
          <ac:chgData name="Steve Hord" userId="7478402321db30a2" providerId="LiveId" clId="{9F0232C1-7AC5-4875-B63C-538748ED1973}" dt="2020-04-21T20:00:25.652" v="87" actId="14100"/>
          <ac:spMkLst>
            <pc:docMk/>
            <pc:sldMk cId="110240023" sldId="607"/>
            <ac:spMk id="8" creationId="{05ADF702-00A6-423F-9E00-50860C2E98AC}"/>
          </ac:spMkLst>
        </pc:spChg>
      </pc:sldChg>
      <pc:sldChg chg="modNotesTx">
        <pc:chgData name="Steve Hord" userId="7478402321db30a2" providerId="LiveId" clId="{9F0232C1-7AC5-4875-B63C-538748ED1973}" dt="2020-04-21T20:17:39.401" v="119" actId="114"/>
        <pc:sldMkLst>
          <pc:docMk/>
          <pc:sldMk cId="2357444012" sldId="608"/>
        </pc:sldMkLst>
      </pc:sldChg>
      <pc:sldChg chg="modSp">
        <pc:chgData name="Steve Hord" userId="7478402321db30a2" providerId="LiveId" clId="{9F0232C1-7AC5-4875-B63C-538748ED1973}" dt="2020-04-21T20:23:40.317" v="121" actId="2711"/>
        <pc:sldMkLst>
          <pc:docMk/>
          <pc:sldMk cId="458220930" sldId="610"/>
        </pc:sldMkLst>
        <pc:spChg chg="mod">
          <ac:chgData name="Steve Hord" userId="7478402321db30a2" providerId="LiveId" clId="{9F0232C1-7AC5-4875-B63C-538748ED1973}" dt="2020-04-21T20:23:40.317" v="121" actId="2711"/>
          <ac:spMkLst>
            <pc:docMk/>
            <pc:sldMk cId="458220930" sldId="610"/>
            <ac:spMk id="9" creationId="{942448F0-C472-4D9E-9619-70E2DD1F57B9}"/>
          </ac:spMkLst>
        </pc:spChg>
      </pc:sldChg>
      <pc:sldChg chg="modSp">
        <pc:chgData name="Steve Hord" userId="7478402321db30a2" providerId="LiveId" clId="{9F0232C1-7AC5-4875-B63C-538748ED1973}" dt="2020-04-21T20:34:22.372" v="122" actId="2711"/>
        <pc:sldMkLst>
          <pc:docMk/>
          <pc:sldMk cId="1244209906" sldId="612"/>
        </pc:sldMkLst>
        <pc:spChg chg="mod">
          <ac:chgData name="Steve Hord" userId="7478402321db30a2" providerId="LiveId" clId="{9F0232C1-7AC5-4875-B63C-538748ED1973}" dt="2020-04-21T20:34:22.372" v="122" actId="2711"/>
          <ac:spMkLst>
            <pc:docMk/>
            <pc:sldMk cId="1244209906" sldId="612"/>
            <ac:spMk id="9" creationId="{942448F0-C472-4D9E-9619-70E2DD1F57B9}"/>
          </ac:spMkLst>
        </pc:spChg>
      </pc:sldChg>
      <pc:sldChg chg="modSp">
        <pc:chgData name="Steve Hord" userId="7478402321db30a2" providerId="LiveId" clId="{9F0232C1-7AC5-4875-B63C-538748ED1973}" dt="2020-04-21T20:42:07.053" v="125" actId="20577"/>
        <pc:sldMkLst>
          <pc:docMk/>
          <pc:sldMk cId="3804096970" sldId="615"/>
        </pc:sldMkLst>
        <pc:graphicFrameChg chg="mod">
          <ac:chgData name="Steve Hord" userId="7478402321db30a2" providerId="LiveId" clId="{9F0232C1-7AC5-4875-B63C-538748ED1973}" dt="2020-04-21T20:42:07.053" v="125" actId="20577"/>
          <ac:graphicFrameMkLst>
            <pc:docMk/>
            <pc:sldMk cId="3804096970" sldId="615"/>
            <ac:graphicFrameMk id="5" creationId="{8218AF4A-403D-4A67-87BC-BF0DD8FEB0D5}"/>
          </ac:graphicFrameMkLst>
        </pc:graphicFrameChg>
      </pc:sldChg>
      <pc:sldChg chg="modSp">
        <pc:chgData name="Steve Hord" userId="7478402321db30a2" providerId="LiveId" clId="{9F0232C1-7AC5-4875-B63C-538748ED1973}" dt="2020-04-21T19:14:53.662" v="55" actId="20577"/>
        <pc:sldMkLst>
          <pc:docMk/>
          <pc:sldMk cId="3894491069" sldId="617"/>
        </pc:sldMkLst>
        <pc:graphicFrameChg chg="mod">
          <ac:chgData name="Steve Hord" userId="7478402321db30a2" providerId="LiveId" clId="{9F0232C1-7AC5-4875-B63C-538748ED1973}" dt="2020-04-21T19:14:53.662" v="55" actId="20577"/>
          <ac:graphicFrameMkLst>
            <pc:docMk/>
            <pc:sldMk cId="3894491069" sldId="617"/>
            <ac:graphicFrameMk id="4" creationId="{44ECF381-5A85-4152-A4A2-40DE21A6CB04}"/>
          </ac:graphicFrameMkLst>
        </pc:graphicFrameChg>
      </pc:sldChg>
      <pc:sldChg chg="modSp modNotesTx">
        <pc:chgData name="Steve Hord" userId="7478402321db30a2" providerId="LiveId" clId="{9F0232C1-7AC5-4875-B63C-538748ED1973}" dt="2020-04-21T19:50:10.921" v="62" actId="20577"/>
        <pc:sldMkLst>
          <pc:docMk/>
          <pc:sldMk cId="508126509" sldId="618"/>
        </pc:sldMkLst>
        <pc:graphicFrameChg chg="mod">
          <ac:chgData name="Steve Hord" userId="7478402321db30a2" providerId="LiveId" clId="{9F0232C1-7AC5-4875-B63C-538748ED1973}" dt="2020-04-21T19:48:04.330" v="60" actId="20577"/>
          <ac:graphicFrameMkLst>
            <pc:docMk/>
            <pc:sldMk cId="508126509" sldId="618"/>
            <ac:graphicFrameMk id="2" creationId="{69309ACB-1DFC-421B-8DFA-80763FE75468}"/>
          </ac:graphicFrameMkLst>
        </pc:graphicFrameChg>
      </pc:sldChg>
      <pc:sldChg chg="modSp">
        <pc:chgData name="Steve Hord" userId="7478402321db30a2" providerId="LiveId" clId="{9F0232C1-7AC5-4875-B63C-538748ED1973}" dt="2020-04-21T19:17:01.613" v="57" actId="255"/>
        <pc:sldMkLst>
          <pc:docMk/>
          <pc:sldMk cId="2202142392" sldId="619"/>
        </pc:sldMkLst>
        <pc:spChg chg="mod">
          <ac:chgData name="Steve Hord" userId="7478402321db30a2" providerId="LiveId" clId="{9F0232C1-7AC5-4875-B63C-538748ED1973}" dt="2020-04-21T19:16:51.189" v="56" actId="255"/>
          <ac:spMkLst>
            <pc:docMk/>
            <pc:sldMk cId="2202142392" sldId="619"/>
            <ac:spMk id="19" creationId="{3F8B4484-A5F3-44A6-93FE-1457242A64FE}"/>
          </ac:spMkLst>
        </pc:spChg>
        <pc:spChg chg="mod">
          <ac:chgData name="Steve Hord" userId="7478402321db30a2" providerId="LiveId" clId="{9F0232C1-7AC5-4875-B63C-538748ED1973}" dt="2020-04-21T19:17:01.613" v="57" actId="255"/>
          <ac:spMkLst>
            <pc:docMk/>
            <pc:sldMk cId="2202142392" sldId="619"/>
            <ac:spMk id="20" creationId="{B31FF57A-BE28-4845-A959-442C74317B08}"/>
          </ac:spMkLst>
        </pc:spChg>
      </pc:sldChg>
      <pc:sldChg chg="modSp">
        <pc:chgData name="Steve Hord" userId="7478402321db30a2" providerId="LiveId" clId="{9F0232C1-7AC5-4875-B63C-538748ED1973}" dt="2020-04-21T20:02:03.760" v="89" actId="20577"/>
        <pc:sldMkLst>
          <pc:docMk/>
          <pc:sldMk cId="1030677442" sldId="621"/>
        </pc:sldMkLst>
        <pc:spChg chg="mod">
          <ac:chgData name="Steve Hord" userId="7478402321db30a2" providerId="LiveId" clId="{9F0232C1-7AC5-4875-B63C-538748ED1973}" dt="2020-04-21T20:01:28.952" v="88" actId="20577"/>
          <ac:spMkLst>
            <pc:docMk/>
            <pc:sldMk cId="1030677442" sldId="621"/>
            <ac:spMk id="10" creationId="{CB308758-B0BD-4B2D-B6F5-6D685175E3EE}"/>
          </ac:spMkLst>
        </pc:spChg>
        <pc:graphicFrameChg chg="mod">
          <ac:chgData name="Steve Hord" userId="7478402321db30a2" providerId="LiveId" clId="{9F0232C1-7AC5-4875-B63C-538748ED1973}" dt="2020-04-21T20:02:03.760" v="89" actId="20577"/>
          <ac:graphicFrameMkLst>
            <pc:docMk/>
            <pc:sldMk cId="1030677442" sldId="621"/>
            <ac:graphicFrameMk id="11" creationId="{0AAB9A74-97B2-4496-83A1-E9E0CC918D1D}"/>
          </ac:graphicFrameMkLst>
        </pc:graphicFrameChg>
      </pc:sldChg>
      <pc:sldChg chg="modSp">
        <pc:chgData name="Steve Hord" userId="7478402321db30a2" providerId="LiveId" clId="{9F0232C1-7AC5-4875-B63C-538748ED1973}" dt="2020-04-21T18:13:17.527" v="12" actId="255"/>
        <pc:sldMkLst>
          <pc:docMk/>
          <pc:sldMk cId="3727622838" sldId="622"/>
        </pc:sldMkLst>
        <pc:spChg chg="mod">
          <ac:chgData name="Steve Hord" userId="7478402321db30a2" providerId="LiveId" clId="{9F0232C1-7AC5-4875-B63C-538748ED1973}" dt="2020-04-21T18:13:17.527" v="12" actId="255"/>
          <ac:spMkLst>
            <pc:docMk/>
            <pc:sldMk cId="3727622838" sldId="622"/>
            <ac:spMk id="12" creationId="{EB0D7ADE-EA66-4D67-AB24-86EB688BD1AE}"/>
          </ac:spMkLst>
        </pc:spChg>
      </pc:sldChg>
      <pc:sldChg chg="modSp">
        <pc:chgData name="Steve Hord" userId="7478402321db30a2" providerId="LiveId" clId="{9F0232C1-7AC5-4875-B63C-538748ED1973}" dt="2020-04-21T20:09:03.589" v="96" actId="20577"/>
        <pc:sldMkLst>
          <pc:docMk/>
          <pc:sldMk cId="593398684" sldId="624"/>
        </pc:sldMkLst>
        <pc:spChg chg="mod">
          <ac:chgData name="Steve Hord" userId="7478402321db30a2" providerId="LiveId" clId="{9F0232C1-7AC5-4875-B63C-538748ED1973}" dt="2020-04-21T20:09:03.589" v="96" actId="20577"/>
          <ac:spMkLst>
            <pc:docMk/>
            <pc:sldMk cId="593398684" sldId="624"/>
            <ac:spMk id="8" creationId="{D4E53F4A-1426-4587-A994-2539692BA5CD}"/>
          </ac:spMkLst>
        </pc:spChg>
      </pc:sldChg>
      <pc:sldChg chg="modSp modNotesTx">
        <pc:chgData name="Steve Hord" userId="7478402321db30a2" providerId="LiveId" clId="{9F0232C1-7AC5-4875-B63C-538748ED1973}" dt="2020-04-21T21:04:08.765" v="164" actId="20577"/>
        <pc:sldMkLst>
          <pc:docMk/>
          <pc:sldMk cId="3702163554" sldId="630"/>
        </pc:sldMkLst>
        <pc:spChg chg="mod">
          <ac:chgData name="Steve Hord" userId="7478402321db30a2" providerId="LiveId" clId="{9F0232C1-7AC5-4875-B63C-538748ED1973}" dt="2020-04-21T21:02:06.422" v="161" actId="20577"/>
          <ac:spMkLst>
            <pc:docMk/>
            <pc:sldMk cId="3702163554" sldId="630"/>
            <ac:spMk id="10" creationId="{2112D96C-AB9F-4924-8996-4DEFF0DEC136}"/>
          </ac:spMkLst>
        </pc:spChg>
      </pc:sldChg>
      <pc:sldChg chg="modSp">
        <pc:chgData name="Steve Hord" userId="7478402321db30a2" providerId="LiveId" clId="{9F0232C1-7AC5-4875-B63C-538748ED1973}" dt="2020-04-21T21:35:32.432" v="181" actId="20577"/>
        <pc:sldMkLst>
          <pc:docMk/>
          <pc:sldMk cId="1732971809" sldId="631"/>
        </pc:sldMkLst>
        <pc:graphicFrameChg chg="mod">
          <ac:chgData name="Steve Hord" userId="7478402321db30a2" providerId="LiveId" clId="{9F0232C1-7AC5-4875-B63C-538748ED1973}" dt="2020-04-21T21:35:32.432" v="181" actId="20577"/>
          <ac:graphicFrameMkLst>
            <pc:docMk/>
            <pc:sldMk cId="1732971809" sldId="631"/>
            <ac:graphicFrameMk id="5" creationId="{4B6F0E6F-291B-46F9-BE67-DC7BF90065BB}"/>
          </ac:graphicFrameMkLst>
        </pc:graphicFrameChg>
      </pc:sldChg>
      <pc:sldChg chg="modSp">
        <pc:chgData name="Steve Hord" userId="7478402321db30a2" providerId="LiveId" clId="{9F0232C1-7AC5-4875-B63C-538748ED1973}" dt="2020-04-21T21:05:58.754" v="169" actId="20577"/>
        <pc:sldMkLst>
          <pc:docMk/>
          <pc:sldMk cId="2857195574" sldId="632"/>
        </pc:sldMkLst>
        <pc:graphicFrameChg chg="mod">
          <ac:chgData name="Steve Hord" userId="7478402321db30a2" providerId="LiveId" clId="{9F0232C1-7AC5-4875-B63C-538748ED1973}" dt="2020-04-21T21:05:58.754" v="169" actId="20577"/>
          <ac:graphicFrameMkLst>
            <pc:docMk/>
            <pc:sldMk cId="2857195574" sldId="632"/>
            <ac:graphicFrameMk id="10" creationId="{75AC7946-B543-4AC6-BEEB-2081C063A73D}"/>
          </ac:graphicFrameMkLst>
        </pc:graphicFrameChg>
      </pc:sldChg>
      <pc:sldChg chg="modSp modNotesTx">
        <pc:chgData name="Steve Hord" userId="7478402321db30a2" providerId="LiveId" clId="{9F0232C1-7AC5-4875-B63C-538748ED1973}" dt="2020-04-21T20:13:21.218" v="114" actId="113"/>
        <pc:sldMkLst>
          <pc:docMk/>
          <pc:sldMk cId="466097575" sldId="633"/>
        </pc:sldMkLst>
        <pc:spChg chg="mod">
          <ac:chgData name="Steve Hord" userId="7478402321db30a2" providerId="LiveId" clId="{9F0232C1-7AC5-4875-B63C-538748ED1973}" dt="2020-04-21T20:11:18.897" v="103" actId="20577"/>
          <ac:spMkLst>
            <pc:docMk/>
            <pc:sldMk cId="466097575" sldId="633"/>
            <ac:spMk id="8" creationId="{D4E53F4A-1426-4587-A994-2539692BA5CD}"/>
          </ac:spMkLst>
        </pc:spChg>
      </pc:sldChg>
      <pc:sldChg chg="modSp">
        <pc:chgData name="Steve Hord" userId="7478402321db30a2" providerId="LiveId" clId="{9F0232C1-7AC5-4875-B63C-538748ED1973}" dt="2020-04-21T20:56:47.844" v="152" actId="20577"/>
        <pc:sldMkLst>
          <pc:docMk/>
          <pc:sldMk cId="1566102222" sldId="634"/>
        </pc:sldMkLst>
        <pc:spChg chg="mod">
          <ac:chgData name="Steve Hord" userId="7478402321db30a2" providerId="LiveId" clId="{9F0232C1-7AC5-4875-B63C-538748ED1973}" dt="2020-04-21T20:56:47.844" v="152" actId="20577"/>
          <ac:spMkLst>
            <pc:docMk/>
            <pc:sldMk cId="1566102222" sldId="634"/>
            <ac:spMk id="4" creationId="{F3616A99-090F-45E1-9334-58D58B148205}"/>
          </ac:spMkLst>
        </pc:spChg>
      </pc:sldChg>
      <pc:sldChg chg="modSp modNotesTx">
        <pc:chgData name="Steve Hord" userId="7478402321db30a2" providerId="LiveId" clId="{9F0232C1-7AC5-4875-B63C-538748ED1973}" dt="2020-04-21T20:54:50.046" v="144" actId="20577"/>
        <pc:sldMkLst>
          <pc:docMk/>
          <pc:sldMk cId="2202610295" sldId="635"/>
        </pc:sldMkLst>
        <pc:graphicFrameChg chg="mod">
          <ac:chgData name="Steve Hord" userId="7478402321db30a2" providerId="LiveId" clId="{9F0232C1-7AC5-4875-B63C-538748ED1973}" dt="2020-04-21T20:52:18.968" v="143" actId="20577"/>
          <ac:graphicFrameMkLst>
            <pc:docMk/>
            <pc:sldMk cId="2202610295" sldId="635"/>
            <ac:graphicFrameMk id="5" creationId="{85FCFEA5-76C0-481C-AAC4-2ED55A37454B}"/>
          </ac:graphicFrameMkLst>
        </pc:graphicFrameChg>
      </pc:sldChg>
      <pc:sldChg chg="modSp">
        <pc:chgData name="Steve Hord" userId="7478402321db30a2" providerId="LiveId" clId="{9F0232C1-7AC5-4875-B63C-538748ED1973}" dt="2020-04-21T20:58:56.644" v="156" actId="20577"/>
        <pc:sldMkLst>
          <pc:docMk/>
          <pc:sldMk cId="2109418391" sldId="636"/>
        </pc:sldMkLst>
        <pc:spChg chg="mod">
          <ac:chgData name="Steve Hord" userId="7478402321db30a2" providerId="LiveId" clId="{9F0232C1-7AC5-4875-B63C-538748ED1973}" dt="2020-04-21T20:58:56.644" v="156" actId="20577"/>
          <ac:spMkLst>
            <pc:docMk/>
            <pc:sldMk cId="2109418391" sldId="636"/>
            <ac:spMk id="4" creationId="{F3616A99-090F-45E1-9334-58D58B148205}"/>
          </ac:spMkLst>
        </pc:spChg>
      </pc:sldChg>
      <pc:sldChg chg="modSp">
        <pc:chgData name="Steve Hord" userId="7478402321db30a2" providerId="LiveId" clId="{9F0232C1-7AC5-4875-B63C-538748ED1973}" dt="2020-04-21T21:01:19.485" v="160" actId="20577"/>
        <pc:sldMkLst>
          <pc:docMk/>
          <pc:sldMk cId="877878254" sldId="637"/>
        </pc:sldMkLst>
        <pc:spChg chg="mod">
          <ac:chgData name="Steve Hord" userId="7478402321db30a2" providerId="LiveId" clId="{9F0232C1-7AC5-4875-B63C-538748ED1973}" dt="2020-04-21T21:01:19.485" v="160" actId="20577"/>
          <ac:spMkLst>
            <pc:docMk/>
            <pc:sldMk cId="877878254" sldId="637"/>
            <ac:spMk id="5" creationId="{1AD8A9F0-64D5-48AF-A056-EB187C5F6CEC}"/>
          </ac:spMkLst>
        </pc:spChg>
      </pc:sldChg>
      <pc:sldChg chg="modSp">
        <pc:chgData name="Steve Hord" userId="7478402321db30a2" providerId="LiveId" clId="{9F0232C1-7AC5-4875-B63C-538748ED1973}" dt="2020-04-21T21:04:51.622" v="168" actId="20577"/>
        <pc:sldMkLst>
          <pc:docMk/>
          <pc:sldMk cId="2014377657" sldId="638"/>
        </pc:sldMkLst>
        <pc:spChg chg="mod">
          <ac:chgData name="Steve Hord" userId="7478402321db30a2" providerId="LiveId" clId="{9F0232C1-7AC5-4875-B63C-538748ED1973}" dt="2020-04-21T21:04:51.622" v="168" actId="20577"/>
          <ac:spMkLst>
            <pc:docMk/>
            <pc:sldMk cId="2014377657" sldId="638"/>
            <ac:spMk id="5" creationId="{1AD8A9F0-64D5-48AF-A056-EB187C5F6CEC}"/>
          </ac:spMkLst>
        </pc:spChg>
      </pc:sldChg>
      <pc:sldChg chg="modSp">
        <pc:chgData name="Steve Hord" userId="7478402321db30a2" providerId="LiveId" clId="{9F0232C1-7AC5-4875-B63C-538748ED1973}" dt="2020-04-21T21:09:02.901" v="173" actId="20577"/>
        <pc:sldMkLst>
          <pc:docMk/>
          <pc:sldMk cId="3484407754" sldId="639"/>
        </pc:sldMkLst>
        <pc:spChg chg="mod">
          <ac:chgData name="Steve Hord" userId="7478402321db30a2" providerId="LiveId" clId="{9F0232C1-7AC5-4875-B63C-538748ED1973}" dt="2020-04-21T21:09:02.901" v="173" actId="20577"/>
          <ac:spMkLst>
            <pc:docMk/>
            <pc:sldMk cId="3484407754" sldId="639"/>
            <ac:spMk id="5" creationId="{1AD8A9F0-64D5-48AF-A056-EB187C5F6CEC}"/>
          </ac:spMkLst>
        </pc:spChg>
      </pc:sldChg>
      <pc:sldChg chg="modSp">
        <pc:chgData name="Steve Hord" userId="7478402321db30a2" providerId="LiveId" clId="{9F0232C1-7AC5-4875-B63C-538748ED1973}" dt="2020-04-21T21:36:38.929" v="182" actId="20577"/>
        <pc:sldMkLst>
          <pc:docMk/>
          <pc:sldMk cId="2502654232" sldId="640"/>
        </pc:sldMkLst>
        <pc:spChg chg="mod">
          <ac:chgData name="Steve Hord" userId="7478402321db30a2" providerId="LiveId" clId="{9F0232C1-7AC5-4875-B63C-538748ED1973}" dt="2020-04-21T21:36:38.929" v="182" actId="20577"/>
          <ac:spMkLst>
            <pc:docMk/>
            <pc:sldMk cId="2502654232" sldId="640"/>
            <ac:spMk id="6" creationId="{B2DA85DE-71D1-48B3-823A-E1808778A06F}"/>
          </ac:spMkLst>
        </pc:spChg>
      </pc:sldChg>
      <pc:sldChg chg="modSp">
        <pc:chgData name="Steve Hord" userId="7478402321db30a2" providerId="LiveId" clId="{9F0232C1-7AC5-4875-B63C-538748ED1973}" dt="2020-04-21T21:37:06.390" v="186" actId="20577"/>
        <pc:sldMkLst>
          <pc:docMk/>
          <pc:sldMk cId="3277872637" sldId="641"/>
        </pc:sldMkLst>
        <pc:spChg chg="mod">
          <ac:chgData name="Steve Hord" userId="7478402321db30a2" providerId="LiveId" clId="{9F0232C1-7AC5-4875-B63C-538748ED1973}" dt="2020-04-21T21:37:06.390" v="186" actId="20577"/>
          <ac:spMkLst>
            <pc:docMk/>
            <pc:sldMk cId="3277872637" sldId="641"/>
            <ac:spMk id="5" creationId="{1AD8A9F0-64D5-48AF-A056-EB187C5F6CEC}"/>
          </ac:spMkLst>
        </pc:spChg>
      </pc:sldChg>
      <pc:sldChg chg="modSp">
        <pc:chgData name="Steve Hord" userId="7478402321db30a2" providerId="LiveId" clId="{9F0232C1-7AC5-4875-B63C-538748ED1973}" dt="2020-04-21T21:34:16" v="178" actId="20577"/>
        <pc:sldMkLst>
          <pc:docMk/>
          <pc:sldMk cId="3560969285" sldId="642"/>
        </pc:sldMkLst>
        <pc:spChg chg="mod">
          <ac:chgData name="Steve Hord" userId="7478402321db30a2" providerId="LiveId" clId="{9F0232C1-7AC5-4875-B63C-538748ED1973}" dt="2020-04-21T21:34:16" v="178" actId="20577"/>
          <ac:spMkLst>
            <pc:docMk/>
            <pc:sldMk cId="3560969285" sldId="642"/>
            <ac:spMk id="5" creationId="{1AD8A9F0-64D5-48AF-A056-EB187C5F6CEC}"/>
          </ac:spMkLst>
        </pc:spChg>
      </pc:sldChg>
      <pc:sldChg chg="modSp">
        <pc:chgData name="Steve Hord" userId="7478402321db30a2" providerId="LiveId" clId="{9F0232C1-7AC5-4875-B63C-538748ED1973}" dt="2020-04-21T20:14:45.406" v="118" actId="20577"/>
        <pc:sldMkLst>
          <pc:docMk/>
          <pc:sldMk cId="533282277" sldId="643"/>
        </pc:sldMkLst>
        <pc:spChg chg="mod">
          <ac:chgData name="Steve Hord" userId="7478402321db30a2" providerId="LiveId" clId="{9F0232C1-7AC5-4875-B63C-538748ED1973}" dt="2020-04-21T20:14:45.406" v="118" actId="20577"/>
          <ac:spMkLst>
            <pc:docMk/>
            <pc:sldMk cId="533282277" sldId="643"/>
            <ac:spMk id="5" creationId="{EFA18231-18B7-4763-8D31-D8DADE8A26F2}"/>
          </ac:spMkLst>
        </pc:spChg>
      </pc:sldChg>
      <pc:sldChg chg="modSp">
        <pc:chgData name="Steve Hord" userId="7478402321db30a2" providerId="LiveId" clId="{9F0232C1-7AC5-4875-B63C-538748ED1973}" dt="2020-04-21T18:50:57.454" v="30" actId="255"/>
        <pc:sldMkLst>
          <pc:docMk/>
          <pc:sldMk cId="3563909604" sldId="644"/>
        </pc:sldMkLst>
        <pc:graphicFrameChg chg="mod">
          <ac:chgData name="Steve Hord" userId="7478402321db30a2" providerId="LiveId" clId="{9F0232C1-7AC5-4875-B63C-538748ED1973}" dt="2020-04-21T18:50:57.454" v="30" actId="255"/>
          <ac:graphicFrameMkLst>
            <pc:docMk/>
            <pc:sldMk cId="3563909604" sldId="644"/>
            <ac:graphicFrameMk id="5" creationId="{4E0C6875-C2A8-44EE-BFBF-C01D9EE7766A}"/>
          </ac:graphicFrameMkLst>
        </pc:graphicFrameChg>
      </pc:sldChg>
    </pc:docChg>
  </pc:docChgLst>
  <pc:docChgLst>
    <pc:chgData name="Daniel Valero" userId="31dd2ff7-9a08-462f-9096-6c487a317220" providerId="ADAL" clId="{C5ECE520-D9F6-468C-B007-133130995236}"/>
    <pc:docChg chg="undo custSel modSld">
      <pc:chgData name="Daniel Valero" userId="31dd2ff7-9a08-462f-9096-6c487a317220" providerId="ADAL" clId="{C5ECE520-D9F6-468C-B007-133130995236}" dt="2020-03-18T16:08:20.749" v="904" actId="20577"/>
      <pc:docMkLst>
        <pc:docMk/>
      </pc:docMkLst>
      <pc:sldChg chg="modSp mod">
        <pc:chgData name="Daniel Valero" userId="31dd2ff7-9a08-462f-9096-6c487a317220" providerId="ADAL" clId="{C5ECE520-D9F6-468C-B007-133130995236}" dt="2020-03-18T15:32:46.890" v="0" actId="20577"/>
        <pc:sldMkLst>
          <pc:docMk/>
          <pc:sldMk cId="2147177822" sldId="568"/>
        </pc:sldMkLst>
        <pc:spChg chg="mod">
          <ac:chgData name="Daniel Valero" userId="31dd2ff7-9a08-462f-9096-6c487a317220" providerId="ADAL" clId="{C5ECE520-D9F6-468C-B007-133130995236}" dt="2020-03-18T15:32:46.890" v="0" actId="20577"/>
          <ac:spMkLst>
            <pc:docMk/>
            <pc:sldMk cId="2147177822" sldId="568"/>
            <ac:spMk id="2" creationId="{BC57B38C-8413-4861-A4F5-7DF656AEAD0D}"/>
          </ac:spMkLst>
        </pc:spChg>
      </pc:sldChg>
      <pc:sldChg chg="modSp modNotesTx">
        <pc:chgData name="Daniel Valero" userId="31dd2ff7-9a08-462f-9096-6c487a317220" providerId="ADAL" clId="{C5ECE520-D9F6-468C-B007-133130995236}" dt="2020-03-18T16:08:20.749" v="904" actId="20577"/>
        <pc:sldMkLst>
          <pc:docMk/>
          <pc:sldMk cId="4206133277" sldId="577"/>
        </pc:sldMkLst>
        <pc:graphicFrameChg chg="mod">
          <ac:chgData name="Daniel Valero" userId="31dd2ff7-9a08-462f-9096-6c487a317220" providerId="ADAL" clId="{C5ECE520-D9F6-468C-B007-133130995236}" dt="2020-03-18T16:04:25.358" v="267" actId="20577"/>
          <ac:graphicFrameMkLst>
            <pc:docMk/>
            <pc:sldMk cId="4206133277" sldId="577"/>
            <ac:graphicFrameMk id="3" creationId="{9484E1FE-7534-495E-863C-657A46F5E628}"/>
          </ac:graphicFrameMkLst>
        </pc:graphicFrameChg>
      </pc:sldChg>
      <pc:sldChg chg="modSp mod">
        <pc:chgData name="Daniel Valero" userId="31dd2ff7-9a08-462f-9096-6c487a317220" providerId="ADAL" clId="{C5ECE520-D9F6-468C-B007-133130995236}" dt="2020-03-18T15:33:21.089" v="2" actId="27636"/>
        <pc:sldMkLst>
          <pc:docMk/>
          <pc:sldMk cId="1097784745" sldId="598"/>
        </pc:sldMkLst>
        <pc:spChg chg="mod">
          <ac:chgData name="Daniel Valero" userId="31dd2ff7-9a08-462f-9096-6c487a317220" providerId="ADAL" clId="{C5ECE520-D9F6-468C-B007-133130995236}" dt="2020-03-18T15:33:21.089" v="2" actId="27636"/>
          <ac:spMkLst>
            <pc:docMk/>
            <pc:sldMk cId="1097784745" sldId="598"/>
            <ac:spMk id="4" creationId="{F3616A99-090F-45E1-9334-58D58B148205}"/>
          </ac:spMkLst>
        </pc:spChg>
      </pc:sldChg>
      <pc:sldChg chg="modSp mod">
        <pc:chgData name="Daniel Valero" userId="31dd2ff7-9a08-462f-9096-6c487a317220" providerId="ADAL" clId="{C5ECE520-D9F6-468C-B007-133130995236}" dt="2020-03-18T15:34:19.517" v="4" actId="27636"/>
        <pc:sldMkLst>
          <pc:docMk/>
          <pc:sldMk cId="200290157" sldId="599"/>
        </pc:sldMkLst>
        <pc:spChg chg="mod">
          <ac:chgData name="Daniel Valero" userId="31dd2ff7-9a08-462f-9096-6c487a317220" providerId="ADAL" clId="{C5ECE520-D9F6-468C-B007-133130995236}" dt="2020-03-18T15:34:19.517" v="4" actId="27636"/>
          <ac:spMkLst>
            <pc:docMk/>
            <pc:sldMk cId="200290157" sldId="599"/>
            <ac:spMk id="4" creationId="{F3616A99-090F-45E1-9334-58D58B148205}"/>
          </ac:spMkLst>
        </pc:spChg>
      </pc:sldChg>
      <pc:sldChg chg="addSp delSp modSp mod">
        <pc:chgData name="Daniel Valero" userId="31dd2ff7-9a08-462f-9096-6c487a317220" providerId="ADAL" clId="{C5ECE520-D9F6-468C-B007-133130995236}" dt="2020-03-18T15:36:24.043" v="24" actId="27636"/>
        <pc:sldMkLst>
          <pc:docMk/>
          <pc:sldMk cId="2420422319" sldId="602"/>
        </pc:sldMkLst>
        <pc:spChg chg="del">
          <ac:chgData name="Daniel Valero" userId="31dd2ff7-9a08-462f-9096-6c487a317220" providerId="ADAL" clId="{C5ECE520-D9F6-468C-B007-133130995236}" dt="2020-03-18T15:34:46.823" v="5" actId="478"/>
          <ac:spMkLst>
            <pc:docMk/>
            <pc:sldMk cId="2420422319" sldId="602"/>
            <ac:spMk id="4" creationId="{F3616A99-090F-45E1-9334-58D58B148205}"/>
          </ac:spMkLst>
        </pc:spChg>
        <pc:spChg chg="add del mod">
          <ac:chgData name="Daniel Valero" userId="31dd2ff7-9a08-462f-9096-6c487a317220" providerId="ADAL" clId="{C5ECE520-D9F6-468C-B007-133130995236}" dt="2020-03-18T15:34:48.668" v="6" actId="478"/>
          <ac:spMkLst>
            <pc:docMk/>
            <pc:sldMk cId="2420422319" sldId="602"/>
            <ac:spMk id="6" creationId="{F67E3650-BB52-42AB-BADA-546F514AE683}"/>
          </ac:spMkLst>
        </pc:spChg>
        <pc:spChg chg="add del mod">
          <ac:chgData name="Daniel Valero" userId="31dd2ff7-9a08-462f-9096-6c487a317220" providerId="ADAL" clId="{C5ECE520-D9F6-468C-B007-133130995236}" dt="2020-03-18T15:35:56.861" v="15" actId="478"/>
          <ac:spMkLst>
            <pc:docMk/>
            <pc:sldMk cId="2420422319" sldId="602"/>
            <ac:spMk id="7" creationId="{B75B4D20-358F-40F3-9B42-2F75A1FC2159}"/>
          </ac:spMkLst>
        </pc:spChg>
        <pc:spChg chg="add">
          <ac:chgData name="Daniel Valero" userId="31dd2ff7-9a08-462f-9096-6c487a317220" providerId="ADAL" clId="{C5ECE520-D9F6-468C-B007-133130995236}" dt="2020-03-18T15:35:29.866" v="10"/>
          <ac:spMkLst>
            <pc:docMk/>
            <pc:sldMk cId="2420422319" sldId="602"/>
            <ac:spMk id="19" creationId="{E6459DC8-7F5C-4033-9C16-86CD57B7B5CA}"/>
          </ac:spMkLst>
        </pc:spChg>
        <pc:spChg chg="add">
          <ac:chgData name="Daniel Valero" userId="31dd2ff7-9a08-462f-9096-6c487a317220" providerId="ADAL" clId="{C5ECE520-D9F6-468C-B007-133130995236}" dt="2020-03-18T15:35:29.866" v="10"/>
          <ac:spMkLst>
            <pc:docMk/>
            <pc:sldMk cId="2420422319" sldId="602"/>
            <ac:spMk id="20" creationId="{64C5F295-5477-43CB-9A97-49CB5033BB10}"/>
          </ac:spMkLst>
        </pc:spChg>
        <pc:spChg chg="add">
          <ac:chgData name="Daniel Valero" userId="31dd2ff7-9a08-462f-9096-6c487a317220" providerId="ADAL" clId="{C5ECE520-D9F6-468C-B007-133130995236}" dt="2020-03-18T15:35:29.866" v="10"/>
          <ac:spMkLst>
            <pc:docMk/>
            <pc:sldMk cId="2420422319" sldId="602"/>
            <ac:spMk id="21" creationId="{4B3A160B-6673-4D36-8BB8-F108BDC31FED}"/>
          </ac:spMkLst>
        </pc:spChg>
        <pc:spChg chg="add">
          <ac:chgData name="Daniel Valero" userId="31dd2ff7-9a08-462f-9096-6c487a317220" providerId="ADAL" clId="{C5ECE520-D9F6-468C-B007-133130995236}" dt="2020-03-18T15:35:29.866" v="10"/>
          <ac:spMkLst>
            <pc:docMk/>
            <pc:sldMk cId="2420422319" sldId="602"/>
            <ac:spMk id="22" creationId="{0EBD7557-33B7-4D81-AEB6-A6B471C392C8}"/>
          </ac:spMkLst>
        </pc:spChg>
        <pc:spChg chg="add">
          <ac:chgData name="Daniel Valero" userId="31dd2ff7-9a08-462f-9096-6c487a317220" providerId="ADAL" clId="{C5ECE520-D9F6-468C-B007-133130995236}" dt="2020-03-18T15:35:29.866" v="10"/>
          <ac:spMkLst>
            <pc:docMk/>
            <pc:sldMk cId="2420422319" sldId="602"/>
            <ac:spMk id="23" creationId="{DED1B7F8-51E5-4287-A02C-6BE3AA146302}"/>
          </ac:spMkLst>
        </pc:spChg>
        <pc:spChg chg="add">
          <ac:chgData name="Daniel Valero" userId="31dd2ff7-9a08-462f-9096-6c487a317220" providerId="ADAL" clId="{C5ECE520-D9F6-468C-B007-133130995236}" dt="2020-03-18T15:35:29.866" v="10"/>
          <ac:spMkLst>
            <pc:docMk/>
            <pc:sldMk cId="2420422319" sldId="602"/>
            <ac:spMk id="24" creationId="{957892DE-184E-453F-8570-FC8FA2E4C319}"/>
          </ac:spMkLst>
        </pc:spChg>
        <pc:spChg chg="add">
          <ac:chgData name="Daniel Valero" userId="31dd2ff7-9a08-462f-9096-6c487a317220" providerId="ADAL" clId="{C5ECE520-D9F6-468C-B007-133130995236}" dt="2020-03-18T15:35:29.866" v="10"/>
          <ac:spMkLst>
            <pc:docMk/>
            <pc:sldMk cId="2420422319" sldId="602"/>
            <ac:spMk id="25" creationId="{7E850198-A140-4DD8-B00A-46C518604D1A}"/>
          </ac:spMkLst>
        </pc:spChg>
        <pc:spChg chg="add">
          <ac:chgData name="Daniel Valero" userId="31dd2ff7-9a08-462f-9096-6c487a317220" providerId="ADAL" clId="{C5ECE520-D9F6-468C-B007-133130995236}" dt="2020-03-18T15:35:29.866" v="10"/>
          <ac:spMkLst>
            <pc:docMk/>
            <pc:sldMk cId="2420422319" sldId="602"/>
            <ac:spMk id="26" creationId="{52AEA408-6E27-41A1-8384-A047B4905A84}"/>
          </ac:spMkLst>
        </pc:spChg>
        <pc:spChg chg="add">
          <ac:chgData name="Daniel Valero" userId="31dd2ff7-9a08-462f-9096-6c487a317220" providerId="ADAL" clId="{C5ECE520-D9F6-468C-B007-133130995236}" dt="2020-03-18T15:35:29.866" v="10"/>
          <ac:spMkLst>
            <pc:docMk/>
            <pc:sldMk cId="2420422319" sldId="602"/>
            <ac:spMk id="27" creationId="{6096FF9B-1817-47B3-A3BB-E3C4DCAF6F23}"/>
          </ac:spMkLst>
        </pc:spChg>
        <pc:spChg chg="add">
          <ac:chgData name="Daniel Valero" userId="31dd2ff7-9a08-462f-9096-6c487a317220" providerId="ADAL" clId="{C5ECE520-D9F6-468C-B007-133130995236}" dt="2020-03-18T15:35:29.866" v="10"/>
          <ac:spMkLst>
            <pc:docMk/>
            <pc:sldMk cId="2420422319" sldId="602"/>
            <ac:spMk id="28" creationId="{2CC323D3-05A4-40FD-B796-5C118D9D1325}"/>
          </ac:spMkLst>
        </pc:spChg>
        <pc:spChg chg="add">
          <ac:chgData name="Daniel Valero" userId="31dd2ff7-9a08-462f-9096-6c487a317220" providerId="ADAL" clId="{C5ECE520-D9F6-468C-B007-133130995236}" dt="2020-03-18T15:35:29.866" v="10"/>
          <ac:spMkLst>
            <pc:docMk/>
            <pc:sldMk cId="2420422319" sldId="602"/>
            <ac:spMk id="29" creationId="{F8E51804-EDA4-49AA-9256-6975794A64C8}"/>
          </ac:spMkLst>
        </pc:spChg>
        <pc:spChg chg="add">
          <ac:chgData name="Daniel Valero" userId="31dd2ff7-9a08-462f-9096-6c487a317220" providerId="ADAL" clId="{C5ECE520-D9F6-468C-B007-133130995236}" dt="2020-03-18T15:35:29.866" v="10"/>
          <ac:spMkLst>
            <pc:docMk/>
            <pc:sldMk cId="2420422319" sldId="602"/>
            <ac:spMk id="30" creationId="{52DE3477-E089-4B4B-8DAC-B6111D280554}"/>
          </ac:spMkLst>
        </pc:spChg>
        <pc:spChg chg="add">
          <ac:chgData name="Daniel Valero" userId="31dd2ff7-9a08-462f-9096-6c487a317220" providerId="ADAL" clId="{C5ECE520-D9F6-468C-B007-133130995236}" dt="2020-03-18T15:35:29.866" v="10"/>
          <ac:spMkLst>
            <pc:docMk/>
            <pc:sldMk cId="2420422319" sldId="602"/>
            <ac:spMk id="31" creationId="{F4ADBFF0-09D9-4C40-9B50-F5928EB205C2}"/>
          </ac:spMkLst>
        </pc:spChg>
        <pc:spChg chg="add">
          <ac:chgData name="Daniel Valero" userId="31dd2ff7-9a08-462f-9096-6c487a317220" providerId="ADAL" clId="{C5ECE520-D9F6-468C-B007-133130995236}" dt="2020-03-18T15:35:29.866" v="10"/>
          <ac:spMkLst>
            <pc:docMk/>
            <pc:sldMk cId="2420422319" sldId="602"/>
            <ac:spMk id="32" creationId="{609461CD-343A-481C-B047-C4A831EE79EE}"/>
          </ac:spMkLst>
        </pc:spChg>
        <pc:spChg chg="add">
          <ac:chgData name="Daniel Valero" userId="31dd2ff7-9a08-462f-9096-6c487a317220" providerId="ADAL" clId="{C5ECE520-D9F6-468C-B007-133130995236}" dt="2020-03-18T15:35:29.866" v="10"/>
          <ac:spMkLst>
            <pc:docMk/>
            <pc:sldMk cId="2420422319" sldId="602"/>
            <ac:spMk id="33" creationId="{B7203129-DD2B-49B7-92E0-6F691F31D8B4}"/>
          </ac:spMkLst>
        </pc:spChg>
        <pc:spChg chg="add">
          <ac:chgData name="Daniel Valero" userId="31dd2ff7-9a08-462f-9096-6c487a317220" providerId="ADAL" clId="{C5ECE520-D9F6-468C-B007-133130995236}" dt="2020-03-18T15:35:29.866" v="10"/>
          <ac:spMkLst>
            <pc:docMk/>
            <pc:sldMk cId="2420422319" sldId="602"/>
            <ac:spMk id="34" creationId="{72DE2710-6F80-4D15-9F2F-BD4882A193AE}"/>
          </ac:spMkLst>
        </pc:spChg>
        <pc:spChg chg="add">
          <ac:chgData name="Daniel Valero" userId="31dd2ff7-9a08-462f-9096-6c487a317220" providerId="ADAL" clId="{C5ECE520-D9F6-468C-B007-133130995236}" dt="2020-03-18T15:35:29.866" v="10"/>
          <ac:spMkLst>
            <pc:docMk/>
            <pc:sldMk cId="2420422319" sldId="602"/>
            <ac:spMk id="35" creationId="{A16A33C1-B865-4BD1-9B71-45E25D6292D5}"/>
          </ac:spMkLst>
        </pc:spChg>
        <pc:spChg chg="add">
          <ac:chgData name="Daniel Valero" userId="31dd2ff7-9a08-462f-9096-6c487a317220" providerId="ADAL" clId="{C5ECE520-D9F6-468C-B007-133130995236}" dt="2020-03-18T15:35:29.866" v="10"/>
          <ac:spMkLst>
            <pc:docMk/>
            <pc:sldMk cId="2420422319" sldId="602"/>
            <ac:spMk id="36" creationId="{B09D6A66-CBBB-4508-9E4E-89C426D7F2C1}"/>
          </ac:spMkLst>
        </pc:spChg>
        <pc:spChg chg="add">
          <ac:chgData name="Daniel Valero" userId="31dd2ff7-9a08-462f-9096-6c487a317220" providerId="ADAL" clId="{C5ECE520-D9F6-468C-B007-133130995236}" dt="2020-03-18T15:35:29.866" v="10"/>
          <ac:spMkLst>
            <pc:docMk/>
            <pc:sldMk cId="2420422319" sldId="602"/>
            <ac:spMk id="37" creationId="{02880426-9C5F-4A0F-B573-0C68CAEE658A}"/>
          </ac:spMkLst>
        </pc:spChg>
        <pc:spChg chg="add">
          <ac:chgData name="Daniel Valero" userId="31dd2ff7-9a08-462f-9096-6c487a317220" providerId="ADAL" clId="{C5ECE520-D9F6-468C-B007-133130995236}" dt="2020-03-18T15:35:29.866" v="10"/>
          <ac:spMkLst>
            <pc:docMk/>
            <pc:sldMk cId="2420422319" sldId="602"/>
            <ac:spMk id="38" creationId="{52263F56-915D-471A-B156-EC5F59B4EC36}"/>
          </ac:spMkLst>
        </pc:spChg>
        <pc:spChg chg="add mod">
          <ac:chgData name="Daniel Valero" userId="31dd2ff7-9a08-462f-9096-6c487a317220" providerId="ADAL" clId="{C5ECE520-D9F6-468C-B007-133130995236}" dt="2020-03-18T15:36:24.043" v="24" actId="27636"/>
          <ac:spMkLst>
            <pc:docMk/>
            <pc:sldMk cId="2420422319" sldId="602"/>
            <ac:spMk id="39" creationId="{55216F1C-04FF-4268-A03F-901CC787A306}"/>
          </ac:spMkLst>
        </pc:spChg>
        <pc:grpChg chg="add del mod">
          <ac:chgData name="Daniel Valero" userId="31dd2ff7-9a08-462f-9096-6c487a317220" providerId="ADAL" clId="{C5ECE520-D9F6-468C-B007-133130995236}" dt="2020-03-18T15:35:50.485" v="12" actId="478"/>
          <ac:grpSpMkLst>
            <pc:docMk/>
            <pc:sldMk cId="2420422319" sldId="602"/>
            <ac:grpSpMk id="8" creationId="{96DC595F-6C44-4CD9-9E57-308FED1BE9C6}"/>
          </ac:grpSpMkLst>
        </pc:grpChg>
        <pc:grpChg chg="add del mod">
          <ac:chgData name="Daniel Valero" userId="31dd2ff7-9a08-462f-9096-6c487a317220" providerId="ADAL" clId="{C5ECE520-D9F6-468C-B007-133130995236}" dt="2020-03-18T15:35:50.485" v="12" actId="478"/>
          <ac:grpSpMkLst>
            <pc:docMk/>
            <pc:sldMk cId="2420422319" sldId="602"/>
            <ac:grpSpMk id="9" creationId="{D861396D-B8FC-4785-A72D-91F951886B56}"/>
          </ac:grpSpMkLst>
        </pc:grpChg>
        <pc:grpChg chg="add del mod">
          <ac:chgData name="Daniel Valero" userId="31dd2ff7-9a08-462f-9096-6c487a317220" providerId="ADAL" clId="{C5ECE520-D9F6-468C-B007-133130995236}" dt="2020-03-18T15:35:50.485" v="12" actId="478"/>
          <ac:grpSpMkLst>
            <pc:docMk/>
            <pc:sldMk cId="2420422319" sldId="602"/>
            <ac:grpSpMk id="11" creationId="{218C2D1B-671E-48E7-9EF4-DB26DF2A17DD}"/>
          </ac:grpSpMkLst>
        </pc:grpChg>
        <pc:grpChg chg="add del mod">
          <ac:chgData name="Daniel Valero" userId="31dd2ff7-9a08-462f-9096-6c487a317220" providerId="ADAL" clId="{C5ECE520-D9F6-468C-B007-133130995236}" dt="2020-03-18T15:35:50.485" v="12" actId="478"/>
          <ac:grpSpMkLst>
            <pc:docMk/>
            <pc:sldMk cId="2420422319" sldId="602"/>
            <ac:grpSpMk id="12" creationId="{E28CA82F-FC14-4109-9F2D-59E8E45E76ED}"/>
          </ac:grpSpMkLst>
        </pc:grpChg>
        <pc:grpChg chg="add del mod">
          <ac:chgData name="Daniel Valero" userId="31dd2ff7-9a08-462f-9096-6c487a317220" providerId="ADAL" clId="{C5ECE520-D9F6-468C-B007-133130995236}" dt="2020-03-18T15:35:50.485" v="12" actId="478"/>
          <ac:grpSpMkLst>
            <pc:docMk/>
            <pc:sldMk cId="2420422319" sldId="602"/>
            <ac:grpSpMk id="13" creationId="{CD0AD660-673A-4EFF-AB2D-C7851E12AF06}"/>
          </ac:grpSpMkLst>
        </pc:grpChg>
        <pc:grpChg chg="add del mod">
          <ac:chgData name="Daniel Valero" userId="31dd2ff7-9a08-462f-9096-6c487a317220" providerId="ADAL" clId="{C5ECE520-D9F6-468C-B007-133130995236}" dt="2020-03-18T15:35:50.485" v="12" actId="478"/>
          <ac:grpSpMkLst>
            <pc:docMk/>
            <pc:sldMk cId="2420422319" sldId="602"/>
            <ac:grpSpMk id="14" creationId="{DBBF322E-77EA-4412-961C-E2C250BFB32B}"/>
          </ac:grpSpMkLst>
        </pc:grpChg>
        <pc:grpChg chg="add del mod">
          <ac:chgData name="Daniel Valero" userId="31dd2ff7-9a08-462f-9096-6c487a317220" providerId="ADAL" clId="{C5ECE520-D9F6-468C-B007-133130995236}" dt="2020-03-18T15:35:50.485" v="12" actId="478"/>
          <ac:grpSpMkLst>
            <pc:docMk/>
            <pc:sldMk cId="2420422319" sldId="602"/>
            <ac:grpSpMk id="15" creationId="{EF58B457-2744-4F07-B246-55D5A4E7D57C}"/>
          </ac:grpSpMkLst>
        </pc:grpChg>
        <pc:grpChg chg="add del mod">
          <ac:chgData name="Daniel Valero" userId="31dd2ff7-9a08-462f-9096-6c487a317220" providerId="ADAL" clId="{C5ECE520-D9F6-468C-B007-133130995236}" dt="2020-03-18T15:35:50.485" v="12" actId="478"/>
          <ac:grpSpMkLst>
            <pc:docMk/>
            <pc:sldMk cId="2420422319" sldId="602"/>
            <ac:grpSpMk id="16" creationId="{3CD490F9-78AA-44E0-A8DF-08E207C3B2C2}"/>
          </ac:grpSpMkLst>
        </pc:grpChg>
        <pc:grpChg chg="add del mod">
          <ac:chgData name="Daniel Valero" userId="31dd2ff7-9a08-462f-9096-6c487a317220" providerId="ADAL" clId="{C5ECE520-D9F6-468C-B007-133130995236}" dt="2020-03-18T15:35:50.485" v="12" actId="478"/>
          <ac:grpSpMkLst>
            <pc:docMk/>
            <pc:sldMk cId="2420422319" sldId="602"/>
            <ac:grpSpMk id="17" creationId="{B3648957-2F01-4574-81CC-C9C38FEA1371}"/>
          </ac:grpSpMkLst>
        </pc:grpChg>
        <pc:grpChg chg="add del mod">
          <ac:chgData name="Daniel Valero" userId="31dd2ff7-9a08-462f-9096-6c487a317220" providerId="ADAL" clId="{C5ECE520-D9F6-468C-B007-133130995236}" dt="2020-03-18T15:35:50.485" v="12" actId="478"/>
          <ac:grpSpMkLst>
            <pc:docMk/>
            <pc:sldMk cId="2420422319" sldId="602"/>
            <ac:grpSpMk id="18" creationId="{887544BD-9005-46B3-95F1-10257C6AE602}"/>
          </ac:grpSpMkLst>
        </pc:grpChg>
        <pc:graphicFrameChg chg="del mod">
          <ac:chgData name="Daniel Valero" userId="31dd2ff7-9a08-462f-9096-6c487a317220" providerId="ADAL" clId="{C5ECE520-D9F6-468C-B007-133130995236}" dt="2020-03-18T15:35:27.776" v="9" actId="478"/>
          <ac:graphicFrameMkLst>
            <pc:docMk/>
            <pc:sldMk cId="2420422319" sldId="602"/>
            <ac:graphicFrameMk id="10" creationId="{E187638D-2B21-4A36-A70A-F5A0FAE62B1C}"/>
          </ac:graphicFrameMkLst>
        </pc:graphicFrameChg>
      </pc:sldChg>
      <pc:sldChg chg="modNotesTx">
        <pc:chgData name="Daniel Valero" userId="31dd2ff7-9a08-462f-9096-6c487a317220" providerId="ADAL" clId="{C5ECE520-D9F6-468C-B007-133130995236}" dt="2020-03-18T15:43:55.277" v="53" actId="20577"/>
        <pc:sldMkLst>
          <pc:docMk/>
          <pc:sldMk cId="3785445527" sldId="628"/>
        </pc:sldMkLst>
      </pc:sldChg>
      <pc:sldChg chg="modSp">
        <pc:chgData name="Daniel Valero" userId="31dd2ff7-9a08-462f-9096-6c487a317220" providerId="ADAL" clId="{C5ECE520-D9F6-468C-B007-133130995236}" dt="2020-03-18T15:45:32.253" v="56" actId="20577"/>
        <pc:sldMkLst>
          <pc:docMk/>
          <pc:sldMk cId="2857195574" sldId="632"/>
        </pc:sldMkLst>
        <pc:graphicFrameChg chg="mod">
          <ac:chgData name="Daniel Valero" userId="31dd2ff7-9a08-462f-9096-6c487a317220" providerId="ADAL" clId="{C5ECE520-D9F6-468C-B007-133130995236}" dt="2020-03-18T15:45:32.253" v="56" actId="20577"/>
          <ac:graphicFrameMkLst>
            <pc:docMk/>
            <pc:sldMk cId="2857195574" sldId="632"/>
            <ac:graphicFrameMk id="10" creationId="{75AC7946-B543-4AC6-BEEB-2081C063A73D}"/>
          </ac:graphicFrameMkLst>
        </pc:graphicFrameChg>
      </pc:sldChg>
      <pc:sldChg chg="modSp mod">
        <pc:chgData name="Daniel Valero" userId="31dd2ff7-9a08-462f-9096-6c487a317220" providerId="ADAL" clId="{C5ECE520-D9F6-468C-B007-133130995236}" dt="2020-03-18T15:43:26.429" v="49" actId="1076"/>
        <pc:sldMkLst>
          <pc:docMk/>
          <pc:sldMk cId="2202610295" sldId="635"/>
        </pc:sldMkLst>
        <pc:graphicFrameChg chg="mod">
          <ac:chgData name="Daniel Valero" userId="31dd2ff7-9a08-462f-9096-6c487a317220" providerId="ADAL" clId="{C5ECE520-D9F6-468C-B007-133130995236}" dt="2020-03-18T15:42:47.808" v="40"/>
          <ac:graphicFrameMkLst>
            <pc:docMk/>
            <pc:sldMk cId="2202610295" sldId="635"/>
            <ac:graphicFrameMk id="5" creationId="{85FCFEA5-76C0-481C-AAC4-2ED55A37454B}"/>
          </ac:graphicFrameMkLst>
        </pc:graphicFrameChg>
        <pc:picChg chg="mod modCrop">
          <ac:chgData name="Daniel Valero" userId="31dd2ff7-9a08-462f-9096-6c487a317220" providerId="ADAL" clId="{C5ECE520-D9F6-468C-B007-133130995236}" dt="2020-03-18T15:43:26.429" v="49" actId="1076"/>
          <ac:picMkLst>
            <pc:docMk/>
            <pc:sldMk cId="2202610295" sldId="635"/>
            <ac:picMk id="6" creationId="{7DE32251-19FA-407E-995F-625B8418B5D2}"/>
          </ac:picMkLst>
        </pc:picChg>
        <pc:picChg chg="mod">
          <ac:chgData name="Daniel Valero" userId="31dd2ff7-9a08-462f-9096-6c487a317220" providerId="ADAL" clId="{C5ECE520-D9F6-468C-B007-133130995236}" dt="2020-03-18T15:42:51.494" v="41" actId="1076"/>
          <ac:picMkLst>
            <pc:docMk/>
            <pc:sldMk cId="2202610295" sldId="635"/>
            <ac:picMk id="7" creationId="{88A788D7-8552-4B7E-A8E0-60F745ADD10C}"/>
          </ac:picMkLst>
        </pc:picChg>
      </pc:sldChg>
    </pc:docChg>
  </pc:docChgLst>
  <pc:docChgLst>
    <pc:chgData name="Daniel Valero" userId="31dd2ff7-9a08-462f-9096-6c487a317220" providerId="ADAL" clId="{837AE27E-AC69-4B5B-A183-6739C373A177}"/>
    <pc:docChg chg="undo custSel modSld">
      <pc:chgData name="Daniel Valero" userId="31dd2ff7-9a08-462f-9096-6c487a317220" providerId="ADAL" clId="{837AE27E-AC69-4B5B-A183-6739C373A177}" dt="2020-03-06T21:06:42.608" v="293"/>
      <pc:docMkLst>
        <pc:docMk/>
      </pc:docMkLst>
      <pc:sldChg chg="modSp mod">
        <pc:chgData name="Daniel Valero" userId="31dd2ff7-9a08-462f-9096-6c487a317220" providerId="ADAL" clId="{837AE27E-AC69-4B5B-A183-6739C373A177}" dt="2020-03-06T20:19:38.696" v="87" actId="790"/>
        <pc:sldMkLst>
          <pc:docMk/>
          <pc:sldMk cId="4267675391" sldId="531"/>
        </pc:sldMkLst>
        <pc:spChg chg="mod">
          <ac:chgData name="Daniel Valero" userId="31dd2ff7-9a08-462f-9096-6c487a317220" providerId="ADAL" clId="{837AE27E-AC69-4B5B-A183-6739C373A177}" dt="2020-03-06T20:19:38.696" v="87" actId="790"/>
          <ac:spMkLst>
            <pc:docMk/>
            <pc:sldMk cId="4267675391" sldId="531"/>
            <ac:spMk id="6" creationId="{637E159C-9ACF-48AE-927A-D5FB13695C7F}"/>
          </ac:spMkLst>
        </pc:spChg>
      </pc:sldChg>
      <pc:sldChg chg="modSp">
        <pc:chgData name="Daniel Valero" userId="31dd2ff7-9a08-462f-9096-6c487a317220" providerId="ADAL" clId="{837AE27E-AC69-4B5B-A183-6739C373A177}" dt="2020-03-06T20:33:37.943" v="120" actId="14100"/>
        <pc:sldMkLst>
          <pc:docMk/>
          <pc:sldMk cId="4248838292" sldId="573"/>
        </pc:sldMkLst>
        <pc:graphicFrameChg chg="mod">
          <ac:chgData name="Daniel Valero" userId="31dd2ff7-9a08-462f-9096-6c487a317220" providerId="ADAL" clId="{837AE27E-AC69-4B5B-A183-6739C373A177}" dt="2020-03-06T20:33:37.943" v="120" actId="14100"/>
          <ac:graphicFrameMkLst>
            <pc:docMk/>
            <pc:sldMk cId="4248838292" sldId="573"/>
            <ac:graphicFrameMk id="5" creationId="{54FAC4F4-38DA-480E-819C-168F142E37A2}"/>
          </ac:graphicFrameMkLst>
        </pc:graphicFrameChg>
      </pc:sldChg>
      <pc:sldChg chg="modSp">
        <pc:chgData name="Daniel Valero" userId="31dd2ff7-9a08-462f-9096-6c487a317220" providerId="ADAL" clId="{837AE27E-AC69-4B5B-A183-6739C373A177}" dt="2020-03-06T20:45:15.359" v="154"/>
        <pc:sldMkLst>
          <pc:docMk/>
          <pc:sldMk cId="3563492871" sldId="575"/>
        </pc:sldMkLst>
        <pc:spChg chg="mod">
          <ac:chgData name="Daniel Valero" userId="31dd2ff7-9a08-462f-9096-6c487a317220" providerId="ADAL" clId="{837AE27E-AC69-4B5B-A183-6739C373A177}" dt="2020-03-06T20:44:56.652" v="153"/>
          <ac:spMkLst>
            <pc:docMk/>
            <pc:sldMk cId="3563492871" sldId="575"/>
            <ac:spMk id="2" creationId="{BC57B38C-8413-4861-A4F5-7DF656AEAD0D}"/>
          </ac:spMkLst>
        </pc:spChg>
        <pc:spChg chg="mod">
          <ac:chgData name="Daniel Valero" userId="31dd2ff7-9a08-462f-9096-6c487a317220" providerId="ADAL" clId="{837AE27E-AC69-4B5B-A183-6739C373A177}" dt="2020-03-06T20:45:15.359" v="154"/>
          <ac:spMkLst>
            <pc:docMk/>
            <pc:sldMk cId="3563492871" sldId="575"/>
            <ac:spMk id="3" creationId="{4897B8F8-26DF-42FB-ACB0-59929F1C2344}"/>
          </ac:spMkLst>
        </pc:spChg>
      </pc:sldChg>
      <pc:sldChg chg="modSp mod">
        <pc:chgData name="Daniel Valero" userId="31dd2ff7-9a08-462f-9096-6c487a317220" providerId="ADAL" clId="{837AE27E-AC69-4B5B-A183-6739C373A177}" dt="2020-03-06T21:06:42.608" v="293"/>
        <pc:sldMkLst>
          <pc:docMk/>
          <pc:sldMk cId="1528516655" sldId="582"/>
        </pc:sldMkLst>
        <pc:spChg chg="mod">
          <ac:chgData name="Daniel Valero" userId="31dd2ff7-9a08-462f-9096-6c487a317220" providerId="ADAL" clId="{837AE27E-AC69-4B5B-A183-6739C373A177}" dt="2020-03-06T21:06:03.307" v="286"/>
          <ac:spMkLst>
            <pc:docMk/>
            <pc:sldMk cId="1528516655" sldId="582"/>
            <ac:spMk id="2" creationId="{BC57B38C-8413-4861-A4F5-7DF656AEAD0D}"/>
          </ac:spMkLst>
        </pc:spChg>
        <pc:spChg chg="mod">
          <ac:chgData name="Daniel Valero" userId="31dd2ff7-9a08-462f-9096-6c487a317220" providerId="ADAL" clId="{837AE27E-AC69-4B5B-A183-6739C373A177}" dt="2020-03-06T21:06:42.608" v="293"/>
          <ac:spMkLst>
            <pc:docMk/>
            <pc:sldMk cId="1528516655" sldId="582"/>
            <ac:spMk id="3" creationId="{4897B8F8-26DF-42FB-ACB0-59929F1C2344}"/>
          </ac:spMkLst>
        </pc:spChg>
      </pc:sldChg>
      <pc:sldChg chg="addSp delSp modSp mod">
        <pc:chgData name="Daniel Valero" userId="31dd2ff7-9a08-462f-9096-6c487a317220" providerId="ADAL" clId="{837AE27E-AC69-4B5B-A183-6739C373A177}" dt="2020-03-06T20:14:06.290" v="78" actId="478"/>
        <pc:sldMkLst>
          <pc:docMk/>
          <pc:sldMk cId="2669391059" sldId="596"/>
        </pc:sldMkLst>
        <pc:graphicFrameChg chg="add mod modGraphic">
          <ac:chgData name="Daniel Valero" userId="31dd2ff7-9a08-462f-9096-6c487a317220" providerId="ADAL" clId="{837AE27E-AC69-4B5B-A183-6739C373A177}" dt="2020-03-06T20:14:00.434" v="76" actId="255"/>
          <ac:graphicFrameMkLst>
            <pc:docMk/>
            <pc:sldMk cId="2669391059" sldId="596"/>
            <ac:graphicFrameMk id="4" creationId="{D437032D-66F5-4217-A6E7-5417D8E385E2}"/>
          </ac:graphicFrameMkLst>
        </pc:graphicFrameChg>
        <pc:graphicFrameChg chg="add del mod">
          <ac:chgData name="Daniel Valero" userId="31dd2ff7-9a08-462f-9096-6c487a317220" providerId="ADAL" clId="{837AE27E-AC69-4B5B-A183-6739C373A177}" dt="2020-03-06T20:14:06.290" v="78" actId="478"/>
          <ac:graphicFrameMkLst>
            <pc:docMk/>
            <pc:sldMk cId="2669391059" sldId="596"/>
            <ac:graphicFrameMk id="5" creationId="{6038F7FE-1DA1-4DBB-B788-2C7EB166AC5C}"/>
          </ac:graphicFrameMkLst>
        </pc:graphicFrameChg>
      </pc:sldChg>
      <pc:sldChg chg="modSp mod">
        <pc:chgData name="Daniel Valero" userId="31dd2ff7-9a08-462f-9096-6c487a317220" providerId="ADAL" clId="{837AE27E-AC69-4B5B-A183-6739C373A177}" dt="2020-03-06T20:10:55.175" v="53" actId="27636"/>
        <pc:sldMkLst>
          <pc:docMk/>
          <pc:sldMk cId="1097784745" sldId="598"/>
        </pc:sldMkLst>
        <pc:spChg chg="mod">
          <ac:chgData name="Daniel Valero" userId="31dd2ff7-9a08-462f-9096-6c487a317220" providerId="ADAL" clId="{837AE27E-AC69-4B5B-A183-6739C373A177}" dt="2020-03-06T20:10:55.175" v="53" actId="27636"/>
          <ac:spMkLst>
            <pc:docMk/>
            <pc:sldMk cId="1097784745" sldId="598"/>
            <ac:spMk id="4" creationId="{F3616A99-090F-45E1-9334-58D58B148205}"/>
          </ac:spMkLst>
        </pc:spChg>
        <pc:graphicFrameChg chg="mod">
          <ac:chgData name="Daniel Valero" userId="31dd2ff7-9a08-462f-9096-6c487a317220" providerId="ADAL" clId="{837AE27E-AC69-4B5B-A183-6739C373A177}" dt="2020-03-06T20:10:48.604" v="47" actId="1076"/>
          <ac:graphicFrameMkLst>
            <pc:docMk/>
            <pc:sldMk cId="1097784745" sldId="598"/>
            <ac:graphicFrameMk id="10" creationId="{FCEC238A-94EC-4139-86D0-C4CF104F2FA0}"/>
          </ac:graphicFrameMkLst>
        </pc:graphicFrameChg>
      </pc:sldChg>
      <pc:sldChg chg="modSp">
        <pc:chgData name="Daniel Valero" userId="31dd2ff7-9a08-462f-9096-6c487a317220" providerId="ADAL" clId="{837AE27E-AC69-4B5B-A183-6739C373A177}" dt="2020-03-06T20:17:28.908" v="79" actId="20577"/>
        <pc:sldMkLst>
          <pc:docMk/>
          <pc:sldMk cId="994038105" sldId="600"/>
        </pc:sldMkLst>
        <pc:spChg chg="mod">
          <ac:chgData name="Daniel Valero" userId="31dd2ff7-9a08-462f-9096-6c487a317220" providerId="ADAL" clId="{837AE27E-AC69-4B5B-A183-6739C373A177}" dt="2020-03-06T20:17:28.908" v="79" actId="20577"/>
          <ac:spMkLst>
            <pc:docMk/>
            <pc:sldMk cId="994038105" sldId="600"/>
            <ac:spMk id="27" creationId="{0EBCC322-8D94-4879-88A3-1EACCEE4E88A}"/>
          </ac:spMkLst>
        </pc:spChg>
      </pc:sldChg>
      <pc:sldChg chg="modSp">
        <pc:chgData name="Daniel Valero" userId="31dd2ff7-9a08-462f-9096-6c487a317220" providerId="ADAL" clId="{837AE27E-AC69-4B5B-A183-6739C373A177}" dt="2020-03-06T20:18:50.610" v="86" actId="20577"/>
        <pc:sldMkLst>
          <pc:docMk/>
          <pc:sldMk cId="3121385187" sldId="601"/>
        </pc:sldMkLst>
        <pc:graphicFrameChg chg="mod">
          <ac:chgData name="Daniel Valero" userId="31dd2ff7-9a08-462f-9096-6c487a317220" providerId="ADAL" clId="{837AE27E-AC69-4B5B-A183-6739C373A177}" dt="2020-03-06T20:18:50.610" v="86" actId="20577"/>
          <ac:graphicFrameMkLst>
            <pc:docMk/>
            <pc:sldMk cId="3121385187" sldId="601"/>
            <ac:graphicFrameMk id="4" creationId="{0A0551B6-9EC1-42BC-B15E-507686A09312}"/>
          </ac:graphicFrameMkLst>
        </pc:graphicFrameChg>
      </pc:sldChg>
      <pc:sldChg chg="modSp mod modAnim">
        <pc:chgData name="Daniel Valero" userId="31dd2ff7-9a08-462f-9096-6c487a317220" providerId="ADAL" clId="{837AE27E-AC69-4B5B-A183-6739C373A177}" dt="2020-03-06T20:38:36.097" v="152"/>
        <pc:sldMkLst>
          <pc:docMk/>
          <pc:sldMk cId="1081358570" sldId="603"/>
        </pc:sldMkLst>
        <pc:spChg chg="mod">
          <ac:chgData name="Daniel Valero" userId="31dd2ff7-9a08-462f-9096-6c487a317220" providerId="ADAL" clId="{837AE27E-AC69-4B5B-A183-6739C373A177}" dt="2020-03-06T20:37:13.580" v="136" actId="1076"/>
          <ac:spMkLst>
            <pc:docMk/>
            <pc:sldMk cId="1081358570" sldId="603"/>
            <ac:spMk id="22" creationId="{F261C6AE-C9E6-4EA3-9806-760F4DF13F16}"/>
          </ac:spMkLst>
        </pc:spChg>
        <pc:spChg chg="mod">
          <ac:chgData name="Daniel Valero" userId="31dd2ff7-9a08-462f-9096-6c487a317220" providerId="ADAL" clId="{837AE27E-AC69-4B5B-A183-6739C373A177}" dt="2020-03-06T20:38:34.908" v="150" actId="1076"/>
          <ac:spMkLst>
            <pc:docMk/>
            <pc:sldMk cId="1081358570" sldId="603"/>
            <ac:spMk id="35" creationId="{E82C582F-9E37-4CA1-87E3-276BF1DE4A34}"/>
          </ac:spMkLst>
        </pc:spChg>
      </pc:sldChg>
      <pc:sldChg chg="modSp mod">
        <pc:chgData name="Daniel Valero" userId="31dd2ff7-9a08-462f-9096-6c487a317220" providerId="ADAL" clId="{837AE27E-AC69-4B5B-A183-6739C373A177}" dt="2020-03-06T20:25:45.626" v="89" actId="1076"/>
        <pc:sldMkLst>
          <pc:docMk/>
          <pc:sldMk cId="3894491069" sldId="617"/>
        </pc:sldMkLst>
        <pc:graphicFrameChg chg="mod">
          <ac:chgData name="Daniel Valero" userId="31dd2ff7-9a08-462f-9096-6c487a317220" providerId="ADAL" clId="{837AE27E-AC69-4B5B-A183-6739C373A177}" dt="2020-03-06T20:25:45.626" v="89" actId="1076"/>
          <ac:graphicFrameMkLst>
            <pc:docMk/>
            <pc:sldMk cId="3894491069" sldId="617"/>
            <ac:graphicFrameMk id="4" creationId="{44ECF381-5A85-4152-A4A2-40DE21A6CB04}"/>
          </ac:graphicFrameMkLst>
        </pc:graphicFrameChg>
      </pc:sldChg>
      <pc:sldChg chg="delSp modSp mod delAnim">
        <pc:chgData name="Daniel Valero" userId="31dd2ff7-9a08-462f-9096-6c487a317220" providerId="ADAL" clId="{837AE27E-AC69-4B5B-A183-6739C373A177}" dt="2020-03-06T20:28:56.603" v="102" actId="1036"/>
        <pc:sldMkLst>
          <pc:docMk/>
          <pc:sldMk cId="508126509" sldId="618"/>
        </pc:sldMkLst>
        <pc:spChg chg="del">
          <ac:chgData name="Daniel Valero" userId="31dd2ff7-9a08-462f-9096-6c487a317220" providerId="ADAL" clId="{837AE27E-AC69-4B5B-A183-6739C373A177}" dt="2020-03-06T20:28:30.828" v="91" actId="478"/>
          <ac:spMkLst>
            <pc:docMk/>
            <pc:sldMk cId="508126509" sldId="618"/>
            <ac:spMk id="3" creationId="{03CE7E76-6007-458B-BC6E-FB49FBAE526B}"/>
          </ac:spMkLst>
        </pc:spChg>
        <pc:spChg chg="mod">
          <ac:chgData name="Daniel Valero" userId="31dd2ff7-9a08-462f-9096-6c487a317220" providerId="ADAL" clId="{837AE27E-AC69-4B5B-A183-6739C373A177}" dt="2020-03-06T20:28:51.915" v="100" actId="12788"/>
          <ac:spMkLst>
            <pc:docMk/>
            <pc:sldMk cId="508126509" sldId="618"/>
            <ac:spMk id="57" creationId="{1BEBD550-8228-458D-8D48-A68DF2E2C6E2}"/>
          </ac:spMkLst>
        </pc:spChg>
        <pc:spChg chg="mod">
          <ac:chgData name="Daniel Valero" userId="31dd2ff7-9a08-462f-9096-6c487a317220" providerId="ADAL" clId="{837AE27E-AC69-4B5B-A183-6739C373A177}" dt="2020-03-06T20:28:56.603" v="102" actId="1036"/>
          <ac:spMkLst>
            <pc:docMk/>
            <pc:sldMk cId="508126509" sldId="618"/>
            <ac:spMk id="60" creationId="{9B6A7B81-CD87-47D1-9723-F5106ADE7681}"/>
          </ac:spMkLst>
        </pc:spChg>
        <pc:spChg chg="mod">
          <ac:chgData name="Daniel Valero" userId="31dd2ff7-9a08-462f-9096-6c487a317220" providerId="ADAL" clId="{837AE27E-AC69-4B5B-A183-6739C373A177}" dt="2020-03-06T20:28:54.602" v="101" actId="1036"/>
          <ac:spMkLst>
            <pc:docMk/>
            <pc:sldMk cId="508126509" sldId="618"/>
            <ac:spMk id="63" creationId="{E733ADE8-00C8-4F4A-97C6-584F2E02292A}"/>
          </ac:spMkLst>
        </pc:spChg>
        <pc:spChg chg="mod">
          <ac:chgData name="Daniel Valero" userId="31dd2ff7-9a08-462f-9096-6c487a317220" providerId="ADAL" clId="{837AE27E-AC69-4B5B-A183-6739C373A177}" dt="2020-03-06T20:28:51.915" v="100" actId="12788"/>
          <ac:spMkLst>
            <pc:docMk/>
            <pc:sldMk cId="508126509" sldId="618"/>
            <ac:spMk id="66" creationId="{B99775AE-9318-4C07-B75D-8142D0524C45}"/>
          </ac:spMkLst>
        </pc:spChg>
        <pc:graphicFrameChg chg="mod">
          <ac:chgData name="Daniel Valero" userId="31dd2ff7-9a08-462f-9096-6c487a317220" providerId="ADAL" clId="{837AE27E-AC69-4B5B-A183-6739C373A177}" dt="2020-03-06T20:27:37.598" v="90" actId="13782"/>
          <ac:graphicFrameMkLst>
            <pc:docMk/>
            <pc:sldMk cId="508126509" sldId="618"/>
            <ac:graphicFrameMk id="2" creationId="{69309ACB-1DFC-421B-8DFA-80763FE75468}"/>
          </ac:graphicFrameMkLst>
        </pc:graphicFrameChg>
      </pc:sldChg>
      <pc:sldChg chg="modSp">
        <pc:chgData name="Daniel Valero" userId="31dd2ff7-9a08-462f-9096-6c487a317220" providerId="ADAL" clId="{837AE27E-AC69-4B5B-A183-6739C373A177}" dt="2020-03-06T20:30:24.520" v="114" actId="20577"/>
        <pc:sldMkLst>
          <pc:docMk/>
          <pc:sldMk cId="4286818092" sldId="620"/>
        </pc:sldMkLst>
        <pc:graphicFrameChg chg="mod">
          <ac:chgData name="Daniel Valero" userId="31dd2ff7-9a08-462f-9096-6c487a317220" providerId="ADAL" clId="{837AE27E-AC69-4B5B-A183-6739C373A177}" dt="2020-03-06T20:30:24.520" v="114" actId="20577"/>
          <ac:graphicFrameMkLst>
            <pc:docMk/>
            <pc:sldMk cId="4286818092" sldId="620"/>
            <ac:graphicFrameMk id="4" creationId="{A5CB17EB-D61B-46D3-8502-A0E25AA528E4}"/>
          </ac:graphicFrameMkLst>
        </pc:graphicFrameChg>
      </pc:sldChg>
      <pc:sldChg chg="addSp delSp modSp mod">
        <pc:chgData name="Daniel Valero" userId="31dd2ff7-9a08-462f-9096-6c487a317220" providerId="ADAL" clId="{837AE27E-AC69-4B5B-A183-6739C373A177}" dt="2020-03-06T20:35:45.999" v="125"/>
        <pc:sldMkLst>
          <pc:docMk/>
          <pc:sldMk cId="1030677442" sldId="621"/>
        </pc:sldMkLst>
        <pc:spChg chg="add del mod">
          <ac:chgData name="Daniel Valero" userId="31dd2ff7-9a08-462f-9096-6c487a317220" providerId="ADAL" clId="{837AE27E-AC69-4B5B-A183-6739C373A177}" dt="2020-03-06T20:35:40.706" v="122" actId="478"/>
          <ac:spMkLst>
            <pc:docMk/>
            <pc:sldMk cId="1030677442" sldId="621"/>
            <ac:spMk id="5" creationId="{C5CC449F-F4B7-4BB6-B65B-D7E12B7F43C8}"/>
          </ac:spMkLst>
        </pc:spChg>
        <pc:spChg chg="del">
          <ac:chgData name="Daniel Valero" userId="31dd2ff7-9a08-462f-9096-6c487a317220" providerId="ADAL" clId="{837AE27E-AC69-4B5B-A183-6739C373A177}" dt="2020-03-06T20:35:38.580" v="121" actId="478"/>
          <ac:spMkLst>
            <pc:docMk/>
            <pc:sldMk cId="1030677442" sldId="621"/>
            <ac:spMk id="6" creationId="{70F92798-54C4-42CE-9509-349D1E88B39C}"/>
          </ac:spMkLst>
        </pc:spChg>
        <pc:spChg chg="add del">
          <ac:chgData name="Daniel Valero" userId="31dd2ff7-9a08-462f-9096-6c487a317220" providerId="ADAL" clId="{837AE27E-AC69-4B5B-A183-6739C373A177}" dt="2020-03-06T20:35:45.122" v="124"/>
          <ac:spMkLst>
            <pc:docMk/>
            <pc:sldMk cId="1030677442" sldId="621"/>
            <ac:spMk id="8" creationId="{41CE7D3D-0AA0-4295-8B37-9F7EDE59197C}"/>
          </ac:spMkLst>
        </pc:spChg>
        <pc:spChg chg="add">
          <ac:chgData name="Daniel Valero" userId="31dd2ff7-9a08-462f-9096-6c487a317220" providerId="ADAL" clId="{837AE27E-AC69-4B5B-A183-6739C373A177}" dt="2020-03-06T20:35:45.999" v="125"/>
          <ac:spMkLst>
            <pc:docMk/>
            <pc:sldMk cId="1030677442" sldId="621"/>
            <ac:spMk id="10" creationId="{CB308758-B0BD-4B2D-B6F5-6D685175E3EE}"/>
          </ac:spMkLst>
        </pc:spChg>
        <pc:graphicFrameChg chg="del">
          <ac:chgData name="Daniel Valero" userId="31dd2ff7-9a08-462f-9096-6c487a317220" providerId="ADAL" clId="{837AE27E-AC69-4B5B-A183-6739C373A177}" dt="2020-03-06T20:35:38.580" v="121" actId="478"/>
          <ac:graphicFrameMkLst>
            <pc:docMk/>
            <pc:sldMk cId="1030677442" sldId="621"/>
            <ac:graphicFrameMk id="7" creationId="{8054562B-EDA4-4A5F-95DF-6B68DF7EFF40}"/>
          </ac:graphicFrameMkLst>
        </pc:graphicFrameChg>
        <pc:graphicFrameChg chg="add del">
          <ac:chgData name="Daniel Valero" userId="31dd2ff7-9a08-462f-9096-6c487a317220" providerId="ADAL" clId="{837AE27E-AC69-4B5B-A183-6739C373A177}" dt="2020-03-06T20:35:45.122" v="124"/>
          <ac:graphicFrameMkLst>
            <pc:docMk/>
            <pc:sldMk cId="1030677442" sldId="621"/>
            <ac:graphicFrameMk id="9" creationId="{A77222A7-9FDE-4A70-9EEB-7D9A0572DF61}"/>
          </ac:graphicFrameMkLst>
        </pc:graphicFrameChg>
        <pc:graphicFrameChg chg="add">
          <ac:chgData name="Daniel Valero" userId="31dd2ff7-9a08-462f-9096-6c487a317220" providerId="ADAL" clId="{837AE27E-AC69-4B5B-A183-6739C373A177}" dt="2020-03-06T20:35:45.999" v="125"/>
          <ac:graphicFrameMkLst>
            <pc:docMk/>
            <pc:sldMk cId="1030677442" sldId="621"/>
            <ac:graphicFrameMk id="11" creationId="{0AAB9A74-97B2-4496-83A1-E9E0CC918D1D}"/>
          </ac:graphicFrameMkLst>
        </pc:graphicFrameChg>
      </pc:sldChg>
      <pc:sldChg chg="addSp modSp mod">
        <pc:chgData name="Daniel Valero" userId="31dd2ff7-9a08-462f-9096-6c487a317220" providerId="ADAL" clId="{837AE27E-AC69-4B5B-A183-6739C373A177}" dt="2020-03-06T20:09:48.248" v="36" actId="20577"/>
        <pc:sldMkLst>
          <pc:docMk/>
          <pc:sldMk cId="3727622838" sldId="622"/>
        </pc:sldMkLst>
        <pc:spChg chg="mod">
          <ac:chgData name="Daniel Valero" userId="31dd2ff7-9a08-462f-9096-6c487a317220" providerId="ADAL" clId="{837AE27E-AC69-4B5B-A183-6739C373A177}" dt="2020-03-06T20:08:30.069" v="12" actId="1076"/>
          <ac:spMkLst>
            <pc:docMk/>
            <pc:sldMk cId="3727622838" sldId="622"/>
            <ac:spMk id="2" creationId="{EB67312A-9819-43C6-8D84-D9136E6CFFCC}"/>
          </ac:spMkLst>
        </pc:spChg>
        <pc:spChg chg="mod">
          <ac:chgData name="Daniel Valero" userId="31dd2ff7-9a08-462f-9096-6c487a317220" providerId="ADAL" clId="{837AE27E-AC69-4B5B-A183-6739C373A177}" dt="2020-03-06T20:08:45.322" v="18" actId="164"/>
          <ac:spMkLst>
            <pc:docMk/>
            <pc:sldMk cId="3727622838" sldId="622"/>
            <ac:spMk id="6" creationId="{169E72AA-BB18-4896-B740-EFF2AF1D1445}"/>
          </ac:spMkLst>
        </pc:spChg>
        <pc:spChg chg="mod">
          <ac:chgData name="Daniel Valero" userId="31dd2ff7-9a08-462f-9096-6c487a317220" providerId="ADAL" clId="{837AE27E-AC69-4B5B-A183-6739C373A177}" dt="2020-03-06T20:08:45.322" v="18" actId="164"/>
          <ac:spMkLst>
            <pc:docMk/>
            <pc:sldMk cId="3727622838" sldId="622"/>
            <ac:spMk id="7" creationId="{1ACA28AE-0391-4926-ADCC-37A802323BB7}"/>
          </ac:spMkLst>
        </pc:spChg>
        <pc:spChg chg="mod">
          <ac:chgData name="Daniel Valero" userId="31dd2ff7-9a08-462f-9096-6c487a317220" providerId="ADAL" clId="{837AE27E-AC69-4B5B-A183-6739C373A177}" dt="2020-03-06T20:08:45.322" v="18" actId="164"/>
          <ac:spMkLst>
            <pc:docMk/>
            <pc:sldMk cId="3727622838" sldId="622"/>
            <ac:spMk id="8" creationId="{11E6287D-903E-465A-BF53-468599B77B3D}"/>
          </ac:spMkLst>
        </pc:spChg>
        <pc:spChg chg="mod">
          <ac:chgData name="Daniel Valero" userId="31dd2ff7-9a08-462f-9096-6c487a317220" providerId="ADAL" clId="{837AE27E-AC69-4B5B-A183-6739C373A177}" dt="2020-03-06T20:08:45.322" v="18" actId="164"/>
          <ac:spMkLst>
            <pc:docMk/>
            <pc:sldMk cId="3727622838" sldId="622"/>
            <ac:spMk id="9" creationId="{C3C59E8B-3CB8-4F4A-B6E6-7EBF7C5DC086}"/>
          </ac:spMkLst>
        </pc:spChg>
        <pc:grpChg chg="add mod">
          <ac:chgData name="Daniel Valero" userId="31dd2ff7-9a08-462f-9096-6c487a317220" providerId="ADAL" clId="{837AE27E-AC69-4B5B-A183-6739C373A177}" dt="2020-03-06T20:08:40.400" v="17" actId="164"/>
          <ac:grpSpMkLst>
            <pc:docMk/>
            <pc:sldMk cId="3727622838" sldId="622"/>
            <ac:grpSpMk id="4" creationId="{126711A0-642B-496F-95EA-E3E3D34948F4}"/>
          </ac:grpSpMkLst>
        </pc:grpChg>
        <pc:grpChg chg="add mod">
          <ac:chgData name="Daniel Valero" userId="31dd2ff7-9a08-462f-9096-6c487a317220" providerId="ADAL" clId="{837AE27E-AC69-4B5B-A183-6739C373A177}" dt="2020-03-06T20:08:48.487" v="19" actId="1076"/>
          <ac:grpSpMkLst>
            <pc:docMk/>
            <pc:sldMk cId="3727622838" sldId="622"/>
            <ac:grpSpMk id="11" creationId="{D37515E2-2A06-4908-A887-DF1D171EEAD6}"/>
          </ac:grpSpMkLst>
        </pc:grpChg>
        <pc:graphicFrameChg chg="mod">
          <ac:chgData name="Daniel Valero" userId="31dd2ff7-9a08-462f-9096-6c487a317220" providerId="ADAL" clId="{837AE27E-AC69-4B5B-A183-6739C373A177}" dt="2020-03-06T20:08:45.322" v="18" actId="164"/>
          <ac:graphicFrameMkLst>
            <pc:docMk/>
            <pc:sldMk cId="3727622838" sldId="622"/>
            <ac:graphicFrameMk id="5" creationId="{D7AA4849-9265-4768-8404-82A32BB2007A}"/>
          </ac:graphicFrameMkLst>
        </pc:graphicFrameChg>
        <pc:graphicFrameChg chg="mod">
          <ac:chgData name="Daniel Valero" userId="31dd2ff7-9a08-462f-9096-6c487a317220" providerId="ADAL" clId="{837AE27E-AC69-4B5B-A183-6739C373A177}" dt="2020-03-06T20:09:48.248" v="36" actId="20577"/>
          <ac:graphicFrameMkLst>
            <pc:docMk/>
            <pc:sldMk cId="3727622838" sldId="622"/>
            <ac:graphicFrameMk id="10" creationId="{5A2BA549-9659-4CD7-888E-C537D5FFC7E6}"/>
          </ac:graphicFrameMkLst>
        </pc:graphicFrameChg>
      </pc:sldChg>
      <pc:sldChg chg="modSp mod modNotesTx">
        <pc:chgData name="Daniel Valero" userId="31dd2ff7-9a08-462f-9096-6c487a317220" providerId="ADAL" clId="{837AE27E-AC69-4B5B-A183-6739C373A177}" dt="2020-03-06T21:00:57.786" v="231" actId="6549"/>
        <pc:sldMkLst>
          <pc:docMk/>
          <pc:sldMk cId="743094843" sldId="626"/>
        </pc:sldMkLst>
        <pc:spChg chg="mod">
          <ac:chgData name="Daniel Valero" userId="31dd2ff7-9a08-462f-9096-6c487a317220" providerId="ADAL" clId="{837AE27E-AC69-4B5B-A183-6739C373A177}" dt="2020-03-06T21:00:57.786" v="231" actId="6549"/>
          <ac:spMkLst>
            <pc:docMk/>
            <pc:sldMk cId="743094843" sldId="626"/>
            <ac:spMk id="4" creationId="{F3616A99-090F-45E1-9334-58D58B148205}"/>
          </ac:spMkLst>
        </pc:spChg>
      </pc:sldChg>
      <pc:sldChg chg="modSp mod">
        <pc:chgData name="Daniel Valero" userId="31dd2ff7-9a08-462f-9096-6c487a317220" providerId="ADAL" clId="{837AE27E-AC69-4B5B-A183-6739C373A177}" dt="2020-03-06T21:03:27.009" v="278" actId="1076"/>
        <pc:sldMkLst>
          <pc:docMk/>
          <pc:sldMk cId="2024360696" sldId="627"/>
        </pc:sldMkLst>
        <pc:spChg chg="mod">
          <ac:chgData name="Daniel Valero" userId="31dd2ff7-9a08-462f-9096-6c487a317220" providerId="ADAL" clId="{837AE27E-AC69-4B5B-A183-6739C373A177}" dt="2020-03-06T21:03:24.682" v="277" actId="14100"/>
          <ac:spMkLst>
            <pc:docMk/>
            <pc:sldMk cId="2024360696" sldId="627"/>
            <ac:spMk id="4" creationId="{F3616A99-090F-45E1-9334-58D58B148205}"/>
          </ac:spMkLst>
        </pc:spChg>
        <pc:graphicFrameChg chg="mod">
          <ac:chgData name="Daniel Valero" userId="31dd2ff7-9a08-462f-9096-6c487a317220" providerId="ADAL" clId="{837AE27E-AC69-4B5B-A183-6739C373A177}" dt="2020-03-06T21:03:27.009" v="278" actId="1076"/>
          <ac:graphicFrameMkLst>
            <pc:docMk/>
            <pc:sldMk cId="2024360696" sldId="627"/>
            <ac:graphicFrameMk id="6" creationId="{F967AF4A-2A1C-462A-B644-579C945DCE1E}"/>
          </ac:graphicFrameMkLst>
        </pc:graphicFrameChg>
      </pc:sldChg>
      <pc:sldChg chg="addSp delSp modSp mod">
        <pc:chgData name="Daniel Valero" userId="31dd2ff7-9a08-462f-9096-6c487a317220" providerId="ADAL" clId="{837AE27E-AC69-4B5B-A183-6739C373A177}" dt="2020-03-06T20:57:15.631" v="215" actId="20577"/>
        <pc:sldMkLst>
          <pc:docMk/>
          <pc:sldMk cId="3702163554" sldId="630"/>
        </pc:sldMkLst>
        <pc:spChg chg="add del mod">
          <ac:chgData name="Daniel Valero" userId="31dd2ff7-9a08-462f-9096-6c487a317220" providerId="ADAL" clId="{837AE27E-AC69-4B5B-A183-6739C373A177}" dt="2020-03-06T20:56:35.955" v="206" actId="478"/>
          <ac:spMkLst>
            <pc:docMk/>
            <pc:sldMk cId="3702163554" sldId="630"/>
            <ac:spMk id="7" creationId="{909EA450-D09A-43A9-88A8-63414C69F81A}"/>
          </ac:spMkLst>
        </pc:spChg>
        <pc:spChg chg="add del">
          <ac:chgData name="Daniel Valero" userId="31dd2ff7-9a08-462f-9096-6c487a317220" providerId="ADAL" clId="{837AE27E-AC69-4B5B-A183-6739C373A177}" dt="2020-03-06T20:56:35.026" v="204"/>
          <ac:spMkLst>
            <pc:docMk/>
            <pc:sldMk cId="3702163554" sldId="630"/>
            <ac:spMk id="8" creationId="{AAB384DC-A9A2-4795-A449-3DE9F8AB4141}"/>
          </ac:spMkLst>
        </pc:spChg>
        <pc:spChg chg="add mod">
          <ac:chgData name="Daniel Valero" userId="31dd2ff7-9a08-462f-9096-6c487a317220" providerId="ADAL" clId="{837AE27E-AC69-4B5B-A183-6739C373A177}" dt="2020-03-06T20:57:15.631" v="215" actId="20577"/>
          <ac:spMkLst>
            <pc:docMk/>
            <pc:sldMk cId="3702163554" sldId="630"/>
            <ac:spMk id="10" creationId="{2112D96C-AB9F-4924-8996-4DEFF0DEC136}"/>
          </ac:spMkLst>
        </pc:spChg>
        <pc:graphicFrameChg chg="add del mod">
          <ac:chgData name="Daniel Valero" userId="31dd2ff7-9a08-462f-9096-6c487a317220" providerId="ADAL" clId="{837AE27E-AC69-4B5B-A183-6739C373A177}" dt="2020-03-06T20:57:03.669" v="208" actId="478"/>
          <ac:graphicFrameMkLst>
            <pc:docMk/>
            <pc:sldMk cId="3702163554" sldId="630"/>
            <ac:graphicFrameMk id="4" creationId="{1B788303-8EA3-412B-B41D-DEC47C2A526F}"/>
          </ac:graphicFrameMkLst>
        </pc:graphicFrameChg>
      </pc:sldChg>
      <pc:sldChg chg="modSp mod">
        <pc:chgData name="Daniel Valero" userId="31dd2ff7-9a08-462f-9096-6c487a317220" providerId="ADAL" clId="{837AE27E-AC69-4B5B-A183-6739C373A177}" dt="2020-03-06T20:54:41.345" v="196"/>
        <pc:sldMkLst>
          <pc:docMk/>
          <pc:sldMk cId="1566102222" sldId="634"/>
        </pc:sldMkLst>
        <pc:spChg chg="mod">
          <ac:chgData name="Daniel Valero" userId="31dd2ff7-9a08-462f-9096-6c487a317220" providerId="ADAL" clId="{837AE27E-AC69-4B5B-A183-6739C373A177}" dt="2020-03-06T20:54:41.345" v="196"/>
          <ac:spMkLst>
            <pc:docMk/>
            <pc:sldMk cId="1566102222" sldId="634"/>
            <ac:spMk id="4" creationId="{F3616A99-090F-45E1-9334-58D58B148205}"/>
          </ac:spMkLst>
        </pc:spChg>
      </pc:sldChg>
      <pc:sldChg chg="modSp mod">
        <pc:chgData name="Daniel Valero" userId="31dd2ff7-9a08-462f-9096-6c487a317220" providerId="ADAL" clId="{837AE27E-AC69-4B5B-A183-6739C373A177}" dt="2020-03-06T20:54:34.646" v="195" actId="20577"/>
        <pc:sldMkLst>
          <pc:docMk/>
          <pc:sldMk cId="2109418391" sldId="636"/>
        </pc:sldMkLst>
        <pc:spChg chg="mod">
          <ac:chgData name="Daniel Valero" userId="31dd2ff7-9a08-462f-9096-6c487a317220" providerId="ADAL" clId="{837AE27E-AC69-4B5B-A183-6739C373A177}" dt="2020-03-06T20:54:34.646" v="195" actId="20577"/>
          <ac:spMkLst>
            <pc:docMk/>
            <pc:sldMk cId="2109418391" sldId="636"/>
            <ac:spMk id="4" creationId="{F3616A99-090F-45E1-9334-58D58B148205}"/>
          </ac:spMkLst>
        </pc:spChg>
      </pc:sldChg>
      <pc:sldChg chg="modSp">
        <pc:chgData name="Daniel Valero" userId="31dd2ff7-9a08-462f-9096-6c487a317220" providerId="ADAL" clId="{837AE27E-AC69-4B5B-A183-6739C373A177}" dt="2020-03-06T20:55:40.566" v="200"/>
        <pc:sldMkLst>
          <pc:docMk/>
          <pc:sldMk cId="877878254" sldId="637"/>
        </pc:sldMkLst>
        <pc:spChg chg="mod">
          <ac:chgData name="Daniel Valero" userId="31dd2ff7-9a08-462f-9096-6c487a317220" providerId="ADAL" clId="{837AE27E-AC69-4B5B-A183-6739C373A177}" dt="2020-03-06T20:55:40.566" v="200"/>
          <ac:spMkLst>
            <pc:docMk/>
            <pc:sldMk cId="877878254" sldId="637"/>
            <ac:spMk id="5" creationId="{1AD8A9F0-64D5-48AF-A056-EB187C5F6CEC}"/>
          </ac:spMkLst>
        </pc:spChg>
      </pc:sldChg>
      <pc:sldChg chg="modSp">
        <pc:chgData name="Daniel Valero" userId="31dd2ff7-9a08-462f-9096-6c487a317220" providerId="ADAL" clId="{837AE27E-AC69-4B5B-A183-6739C373A177}" dt="2020-03-06T20:58:00.393" v="217"/>
        <pc:sldMkLst>
          <pc:docMk/>
          <pc:sldMk cId="2014377657" sldId="638"/>
        </pc:sldMkLst>
        <pc:spChg chg="mod">
          <ac:chgData name="Daniel Valero" userId="31dd2ff7-9a08-462f-9096-6c487a317220" providerId="ADAL" clId="{837AE27E-AC69-4B5B-A183-6739C373A177}" dt="2020-03-06T20:58:00.393" v="217"/>
          <ac:spMkLst>
            <pc:docMk/>
            <pc:sldMk cId="2014377657" sldId="638"/>
            <ac:spMk id="5" creationId="{1AD8A9F0-64D5-48AF-A056-EB187C5F6CEC}"/>
          </ac:spMkLst>
        </pc:spChg>
      </pc:sldChg>
      <pc:sldChg chg="modSp mod">
        <pc:chgData name="Daniel Valero" userId="31dd2ff7-9a08-462f-9096-6c487a317220" providerId="ADAL" clId="{837AE27E-AC69-4B5B-A183-6739C373A177}" dt="2020-03-06T21:00:06.359" v="223" actId="20577"/>
        <pc:sldMkLst>
          <pc:docMk/>
          <pc:sldMk cId="3484407754" sldId="639"/>
        </pc:sldMkLst>
        <pc:spChg chg="mod">
          <ac:chgData name="Daniel Valero" userId="31dd2ff7-9a08-462f-9096-6c487a317220" providerId="ADAL" clId="{837AE27E-AC69-4B5B-A183-6739C373A177}" dt="2020-03-06T21:00:06.359" v="223" actId="20577"/>
          <ac:spMkLst>
            <pc:docMk/>
            <pc:sldMk cId="3484407754" sldId="639"/>
            <ac:spMk id="5" creationId="{1AD8A9F0-64D5-48AF-A056-EB187C5F6CEC}"/>
          </ac:spMkLst>
        </pc:spChg>
      </pc:sldChg>
      <pc:sldChg chg="modSp mod">
        <pc:chgData name="Daniel Valero" userId="31dd2ff7-9a08-462f-9096-6c487a317220" providerId="ADAL" clId="{837AE27E-AC69-4B5B-A183-6739C373A177}" dt="2020-03-06T21:05:36.007" v="285" actId="20577"/>
        <pc:sldMkLst>
          <pc:docMk/>
          <pc:sldMk cId="3277872637" sldId="641"/>
        </pc:sldMkLst>
        <pc:spChg chg="mod">
          <ac:chgData name="Daniel Valero" userId="31dd2ff7-9a08-462f-9096-6c487a317220" providerId="ADAL" clId="{837AE27E-AC69-4B5B-A183-6739C373A177}" dt="2020-03-06T21:05:36.007" v="285" actId="20577"/>
          <ac:spMkLst>
            <pc:docMk/>
            <pc:sldMk cId="3277872637" sldId="641"/>
            <ac:spMk id="5" creationId="{1AD8A9F0-64D5-48AF-A056-EB187C5F6CEC}"/>
          </ac:spMkLst>
        </pc:spChg>
      </pc:sldChg>
      <pc:sldChg chg="modSp mod">
        <pc:chgData name="Daniel Valero" userId="31dd2ff7-9a08-462f-9096-6c487a317220" providerId="ADAL" clId="{837AE27E-AC69-4B5B-A183-6739C373A177}" dt="2020-03-06T21:04:01.814" v="282" actId="20577"/>
        <pc:sldMkLst>
          <pc:docMk/>
          <pc:sldMk cId="3560969285" sldId="642"/>
        </pc:sldMkLst>
        <pc:spChg chg="mod">
          <ac:chgData name="Daniel Valero" userId="31dd2ff7-9a08-462f-9096-6c487a317220" providerId="ADAL" clId="{837AE27E-AC69-4B5B-A183-6739C373A177}" dt="2020-03-06T21:04:01.814" v="282" actId="20577"/>
          <ac:spMkLst>
            <pc:docMk/>
            <pc:sldMk cId="3560969285" sldId="642"/>
            <ac:spMk id="5" creationId="{1AD8A9F0-64D5-48AF-A056-EB187C5F6CEC}"/>
          </ac:spMkLst>
        </pc:sp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Daniel Valero" userId="31dd2ff7-9a08-462f-9096-6c487a317220" providerId="ADAL" clId="{6B6DDBCE-A0B9-4116-B479-39D499E84CDE}"/>
    <pc:docChg chg="undo custSel addSld delSld modSld modSection">
      <pc:chgData name="Daniel Valero" userId="31dd2ff7-9a08-462f-9096-6c487a317220" providerId="ADAL" clId="{6B6DDBCE-A0B9-4116-B479-39D499E84CDE}" dt="2020-03-06T22:04:55.793" v="287" actId="255"/>
      <pc:docMkLst>
        <pc:docMk/>
      </pc:docMkLst>
      <pc:sldChg chg="modSp">
        <pc:chgData name="Daniel Valero" userId="31dd2ff7-9a08-462f-9096-6c487a317220" providerId="ADAL" clId="{6B6DDBCE-A0B9-4116-B479-39D499E84CDE}" dt="2020-03-06T21:51:45.116" v="172" actId="20577"/>
        <pc:sldMkLst>
          <pc:docMk/>
          <pc:sldMk cId="4248838292" sldId="573"/>
        </pc:sldMkLst>
        <pc:graphicFrameChg chg="mod">
          <ac:chgData name="Daniel Valero" userId="31dd2ff7-9a08-462f-9096-6c487a317220" providerId="ADAL" clId="{6B6DDBCE-A0B9-4116-B479-39D499E84CDE}" dt="2020-03-06T21:51:45.116" v="172" actId="20577"/>
          <ac:graphicFrameMkLst>
            <pc:docMk/>
            <pc:sldMk cId="4248838292" sldId="573"/>
            <ac:graphicFrameMk id="5" creationId="{54FAC4F4-38DA-480E-819C-168F142E37A2}"/>
          </ac:graphicFrameMkLst>
        </pc:graphicFrameChg>
      </pc:sldChg>
      <pc:sldChg chg="delSp modSp mod">
        <pc:chgData name="Daniel Valero" userId="31dd2ff7-9a08-462f-9096-6c487a317220" providerId="ADAL" clId="{6B6DDBCE-A0B9-4116-B479-39D499E84CDE}" dt="2020-03-06T21:45:04.415" v="21" actId="12"/>
        <pc:sldMkLst>
          <pc:docMk/>
          <pc:sldMk cId="2669391059" sldId="596"/>
        </pc:sldMkLst>
        <pc:graphicFrameChg chg="mod">
          <ac:chgData name="Daniel Valero" userId="31dd2ff7-9a08-462f-9096-6c487a317220" providerId="ADAL" clId="{6B6DDBCE-A0B9-4116-B479-39D499E84CDE}" dt="2020-03-06T21:45:04.415" v="21" actId="12"/>
          <ac:graphicFrameMkLst>
            <pc:docMk/>
            <pc:sldMk cId="2669391059" sldId="596"/>
            <ac:graphicFrameMk id="4" creationId="{D437032D-66F5-4217-A6E7-5417D8E385E2}"/>
          </ac:graphicFrameMkLst>
        </pc:graphicFrameChg>
        <pc:graphicFrameChg chg="del">
          <ac:chgData name="Daniel Valero" userId="31dd2ff7-9a08-462f-9096-6c487a317220" providerId="ADAL" clId="{6B6DDBCE-A0B9-4116-B479-39D499E84CDE}" dt="2020-03-06T21:45:00.625" v="19" actId="478"/>
          <ac:graphicFrameMkLst>
            <pc:docMk/>
            <pc:sldMk cId="2669391059" sldId="596"/>
            <ac:graphicFrameMk id="5" creationId="{6038F7FE-1DA1-4DBB-B788-2C7EB166AC5C}"/>
          </ac:graphicFrameMkLst>
        </pc:graphicFrameChg>
      </pc:sldChg>
      <pc:sldChg chg="addSp delSp modSp mod">
        <pc:chgData name="Daniel Valero" userId="31dd2ff7-9a08-462f-9096-6c487a317220" providerId="ADAL" clId="{6B6DDBCE-A0B9-4116-B479-39D499E84CDE}" dt="2020-03-06T21:48:01.600" v="121" actId="1076"/>
        <pc:sldMkLst>
          <pc:docMk/>
          <pc:sldMk cId="3121385187" sldId="601"/>
        </pc:sldMkLst>
        <pc:spChg chg="add del mod">
          <ac:chgData name="Daniel Valero" userId="31dd2ff7-9a08-462f-9096-6c487a317220" providerId="ADAL" clId="{6B6DDBCE-A0B9-4116-B479-39D499E84CDE}" dt="2020-03-06T21:47:06.671" v="76"/>
          <ac:spMkLst>
            <pc:docMk/>
            <pc:sldMk cId="3121385187" sldId="601"/>
            <ac:spMk id="5" creationId="{C4DCED54-EEAA-4611-8747-FE1D3C5D1758}"/>
          </ac:spMkLst>
        </pc:spChg>
        <pc:spChg chg="add del mod ord">
          <ac:chgData name="Daniel Valero" userId="31dd2ff7-9a08-462f-9096-6c487a317220" providerId="ADAL" clId="{6B6DDBCE-A0B9-4116-B479-39D499E84CDE}" dt="2020-03-06T21:47:03.012" v="72"/>
          <ac:spMkLst>
            <pc:docMk/>
            <pc:sldMk cId="3121385187" sldId="601"/>
            <ac:spMk id="8" creationId="{15D59687-1D3B-48EF-8D52-BBACCE48F07B}"/>
          </ac:spMkLst>
        </pc:spChg>
        <pc:spChg chg="add del mod">
          <ac:chgData name="Daniel Valero" userId="31dd2ff7-9a08-462f-9096-6c487a317220" providerId="ADAL" clId="{6B6DDBCE-A0B9-4116-B479-39D499E84CDE}" dt="2020-03-06T21:46:58.351" v="59" actId="21"/>
          <ac:spMkLst>
            <pc:docMk/>
            <pc:sldMk cId="3121385187" sldId="601"/>
            <ac:spMk id="9" creationId="{B3050E42-C7BA-468F-9760-7E3F6E9B8388}"/>
          </ac:spMkLst>
        </pc:spChg>
        <pc:spChg chg="add mod">
          <ac:chgData name="Daniel Valero" userId="31dd2ff7-9a08-462f-9096-6c487a317220" providerId="ADAL" clId="{6B6DDBCE-A0B9-4116-B479-39D499E84CDE}" dt="2020-03-06T21:48:01.600" v="121" actId="1076"/>
          <ac:spMkLst>
            <pc:docMk/>
            <pc:sldMk cId="3121385187" sldId="601"/>
            <ac:spMk id="10" creationId="{3A22AD52-9F23-476C-B2F0-713E08695664}"/>
          </ac:spMkLst>
        </pc:spChg>
        <pc:graphicFrameChg chg="del mod">
          <ac:chgData name="Daniel Valero" userId="31dd2ff7-9a08-462f-9096-6c487a317220" providerId="ADAL" clId="{6B6DDBCE-A0B9-4116-B479-39D499E84CDE}" dt="2020-03-06T21:45:46.535" v="23" actId="478"/>
          <ac:graphicFrameMkLst>
            <pc:docMk/>
            <pc:sldMk cId="3121385187" sldId="601"/>
            <ac:graphicFrameMk id="4" creationId="{0A0551B6-9EC1-42BC-B15E-507686A09312}"/>
          </ac:graphicFrameMkLst>
        </pc:graphicFrameChg>
      </pc:sldChg>
      <pc:sldChg chg="modSp">
        <pc:chgData name="Daniel Valero" userId="31dd2ff7-9a08-462f-9096-6c487a317220" providerId="ADAL" clId="{6B6DDBCE-A0B9-4116-B479-39D499E84CDE}" dt="2020-03-06T21:56:41.243" v="203" actId="20577"/>
        <pc:sldMkLst>
          <pc:docMk/>
          <pc:sldMk cId="3804096970" sldId="615"/>
        </pc:sldMkLst>
        <pc:graphicFrameChg chg="mod">
          <ac:chgData name="Daniel Valero" userId="31dd2ff7-9a08-462f-9096-6c487a317220" providerId="ADAL" clId="{6B6DDBCE-A0B9-4116-B479-39D499E84CDE}" dt="2020-03-06T21:56:41.243" v="203" actId="20577"/>
          <ac:graphicFrameMkLst>
            <pc:docMk/>
            <pc:sldMk cId="3804096970" sldId="615"/>
            <ac:graphicFrameMk id="5" creationId="{8218AF4A-403D-4A67-87BC-BF0DD8FEB0D5}"/>
          </ac:graphicFrameMkLst>
        </pc:graphicFrameChg>
      </pc:sldChg>
      <pc:sldChg chg="addSp delSp modSp mod">
        <pc:chgData name="Daniel Valero" userId="31dd2ff7-9a08-462f-9096-6c487a317220" providerId="ADAL" clId="{6B6DDBCE-A0B9-4116-B479-39D499E84CDE}" dt="2020-03-06T21:50:32.485" v="150" actId="255"/>
        <pc:sldMkLst>
          <pc:docMk/>
          <pc:sldMk cId="3894491069" sldId="617"/>
        </pc:sldMkLst>
        <pc:spChg chg="add">
          <ac:chgData name="Daniel Valero" userId="31dd2ff7-9a08-462f-9096-6c487a317220" providerId="ADAL" clId="{6B6DDBCE-A0B9-4116-B479-39D499E84CDE}" dt="2020-03-06T21:49:22.277" v="131"/>
          <ac:spMkLst>
            <pc:docMk/>
            <pc:sldMk cId="3894491069" sldId="617"/>
            <ac:spMk id="6" creationId="{750FF4C7-0DD7-4825-936D-2C9D364F2261}"/>
          </ac:spMkLst>
        </pc:spChg>
        <pc:spChg chg="add mod">
          <ac:chgData name="Daniel Valero" userId="31dd2ff7-9a08-462f-9096-6c487a317220" providerId="ADAL" clId="{6B6DDBCE-A0B9-4116-B479-39D499E84CDE}" dt="2020-03-06T21:49:28.675" v="133" actId="21"/>
          <ac:spMkLst>
            <pc:docMk/>
            <pc:sldMk cId="3894491069" sldId="617"/>
            <ac:spMk id="7" creationId="{CCB75105-4A31-4F16-A376-99AEF3FD61BF}"/>
          </ac:spMkLst>
        </pc:spChg>
        <pc:spChg chg="add mod">
          <ac:chgData name="Daniel Valero" userId="31dd2ff7-9a08-462f-9096-6c487a317220" providerId="ADAL" clId="{6B6DDBCE-A0B9-4116-B479-39D499E84CDE}" dt="2020-03-06T21:49:53.075" v="146" actId="113"/>
          <ac:spMkLst>
            <pc:docMk/>
            <pc:sldMk cId="3894491069" sldId="617"/>
            <ac:spMk id="8" creationId="{A5433E82-14E9-492C-AE3C-37147E623F70}"/>
          </ac:spMkLst>
        </pc:spChg>
        <pc:grpChg chg="add del mod">
          <ac:chgData name="Daniel Valero" userId="31dd2ff7-9a08-462f-9096-6c487a317220" providerId="ADAL" clId="{6B6DDBCE-A0B9-4116-B479-39D499E84CDE}" dt="2020-03-06T21:49:30.102" v="134" actId="478"/>
          <ac:grpSpMkLst>
            <pc:docMk/>
            <pc:sldMk cId="3894491069" sldId="617"/>
            <ac:grpSpMk id="5" creationId="{3E20ED4A-ED45-498B-903D-8230BE083EBB}"/>
          </ac:grpSpMkLst>
        </pc:grpChg>
        <pc:graphicFrameChg chg="mod">
          <ac:chgData name="Daniel Valero" userId="31dd2ff7-9a08-462f-9096-6c487a317220" providerId="ADAL" clId="{6B6DDBCE-A0B9-4116-B479-39D499E84CDE}" dt="2020-03-06T21:50:32.485" v="150" actId="255"/>
          <ac:graphicFrameMkLst>
            <pc:docMk/>
            <pc:sldMk cId="3894491069" sldId="617"/>
            <ac:graphicFrameMk id="4" creationId="{44ECF381-5A85-4152-A4A2-40DE21A6CB04}"/>
          </ac:graphicFrameMkLst>
        </pc:graphicFrameChg>
      </pc:sldChg>
      <pc:sldChg chg="addSp delSp modSp mod">
        <pc:chgData name="Daniel Valero" userId="31dd2ff7-9a08-462f-9096-6c487a317220" providerId="ADAL" clId="{6B6DDBCE-A0B9-4116-B479-39D499E84CDE}" dt="2020-03-06T21:44:04.930" v="15" actId="14100"/>
        <pc:sldMkLst>
          <pc:docMk/>
          <pc:sldMk cId="3727622838" sldId="622"/>
        </pc:sldMkLst>
        <pc:spChg chg="add mod">
          <ac:chgData name="Daniel Valero" userId="31dd2ff7-9a08-462f-9096-6c487a317220" providerId="ADAL" clId="{6B6DDBCE-A0B9-4116-B479-39D499E84CDE}" dt="2020-03-06T21:44:04.930" v="15" actId="14100"/>
          <ac:spMkLst>
            <pc:docMk/>
            <pc:sldMk cId="3727622838" sldId="622"/>
            <ac:spMk id="12" creationId="{EB0D7ADE-EA66-4D67-AB24-86EB688BD1AE}"/>
          </ac:spMkLst>
        </pc:spChg>
        <pc:graphicFrameChg chg="del mod">
          <ac:chgData name="Daniel Valero" userId="31dd2ff7-9a08-462f-9096-6c487a317220" providerId="ADAL" clId="{6B6DDBCE-A0B9-4116-B479-39D499E84CDE}" dt="2020-03-06T21:43:25.243" v="1" actId="478"/>
          <ac:graphicFrameMkLst>
            <pc:docMk/>
            <pc:sldMk cId="3727622838" sldId="622"/>
            <ac:graphicFrameMk id="10" creationId="{5A2BA549-9659-4CD7-888E-C537D5FFC7E6}"/>
          </ac:graphicFrameMkLst>
        </pc:graphicFrameChg>
      </pc:sldChg>
      <pc:sldChg chg="modSp mod modNotesTx">
        <pc:chgData name="Daniel Valero" userId="31dd2ff7-9a08-462f-9096-6c487a317220" providerId="ADAL" clId="{6B6DDBCE-A0B9-4116-B479-39D499E84CDE}" dt="2020-03-06T22:02:23.081" v="247" actId="1076"/>
        <pc:sldMkLst>
          <pc:docMk/>
          <pc:sldMk cId="743094843" sldId="626"/>
        </pc:sldMkLst>
        <pc:spChg chg="mod">
          <ac:chgData name="Daniel Valero" userId="31dd2ff7-9a08-462f-9096-6c487a317220" providerId="ADAL" clId="{6B6DDBCE-A0B9-4116-B479-39D499E84CDE}" dt="2020-03-06T22:02:15.201" v="243" actId="14100"/>
          <ac:spMkLst>
            <pc:docMk/>
            <pc:sldMk cId="743094843" sldId="626"/>
            <ac:spMk id="4" creationId="{F3616A99-090F-45E1-9334-58D58B148205}"/>
          </ac:spMkLst>
        </pc:spChg>
        <pc:graphicFrameChg chg="mod">
          <ac:chgData name="Daniel Valero" userId="31dd2ff7-9a08-462f-9096-6c487a317220" providerId="ADAL" clId="{6B6DDBCE-A0B9-4116-B479-39D499E84CDE}" dt="2020-03-06T22:02:23.081" v="247" actId="1076"/>
          <ac:graphicFrameMkLst>
            <pc:docMk/>
            <pc:sldMk cId="743094843" sldId="626"/>
            <ac:graphicFrameMk id="6" creationId="{111D002A-A0A4-4541-915F-22B1D3A7AB07}"/>
          </ac:graphicFrameMkLst>
        </pc:graphicFrameChg>
      </pc:sldChg>
      <pc:sldChg chg="modSp">
        <pc:chgData name="Daniel Valero" userId="31dd2ff7-9a08-462f-9096-6c487a317220" providerId="ADAL" clId="{6B6DDBCE-A0B9-4116-B479-39D499E84CDE}" dt="2020-03-06T21:59:06.617" v="205" actId="20577"/>
        <pc:sldMkLst>
          <pc:docMk/>
          <pc:sldMk cId="3568901222" sldId="629"/>
        </pc:sldMkLst>
        <pc:graphicFrameChg chg="mod">
          <ac:chgData name="Daniel Valero" userId="31dd2ff7-9a08-462f-9096-6c487a317220" providerId="ADAL" clId="{6B6DDBCE-A0B9-4116-B479-39D499E84CDE}" dt="2020-03-06T21:59:06.617" v="205" actId="20577"/>
          <ac:graphicFrameMkLst>
            <pc:docMk/>
            <pc:sldMk cId="3568901222" sldId="629"/>
            <ac:graphicFrameMk id="14" creationId="{AB7BD9DA-F2E1-4F40-9193-F7C0E8AC6A24}"/>
          </ac:graphicFrameMkLst>
        </pc:graphicFrameChg>
      </pc:sldChg>
      <pc:sldChg chg="addSp delSp modSp mod">
        <pc:chgData name="Daniel Valero" userId="31dd2ff7-9a08-462f-9096-6c487a317220" providerId="ADAL" clId="{6B6DDBCE-A0B9-4116-B479-39D499E84CDE}" dt="2020-03-06T22:00:25.577" v="230" actId="1076"/>
        <pc:sldMkLst>
          <pc:docMk/>
          <pc:sldMk cId="3702163554" sldId="630"/>
        </pc:sldMkLst>
        <pc:spChg chg="add del">
          <ac:chgData name="Daniel Valero" userId="31dd2ff7-9a08-462f-9096-6c487a317220" providerId="ADAL" clId="{6B6DDBCE-A0B9-4116-B479-39D499E84CDE}" dt="2020-03-06T21:59:48.376" v="215"/>
          <ac:spMkLst>
            <pc:docMk/>
            <pc:sldMk cId="3702163554" sldId="630"/>
            <ac:spMk id="4" creationId="{B5D295D2-FDCB-49A4-987A-A83987ADDF64}"/>
          </ac:spMkLst>
        </pc:spChg>
        <pc:spChg chg="add mod">
          <ac:chgData name="Daniel Valero" userId="31dd2ff7-9a08-462f-9096-6c487a317220" providerId="ADAL" clId="{6B6DDBCE-A0B9-4116-B479-39D499E84CDE}" dt="2020-03-06T22:00:24.457" v="229" actId="1076"/>
          <ac:spMkLst>
            <pc:docMk/>
            <pc:sldMk cId="3702163554" sldId="630"/>
            <ac:spMk id="5" creationId="{2B7D7BFF-B109-48DC-A1A6-A8028CBE207C}"/>
          </ac:spMkLst>
        </pc:spChg>
        <pc:spChg chg="mod">
          <ac:chgData name="Daniel Valero" userId="31dd2ff7-9a08-462f-9096-6c487a317220" providerId="ADAL" clId="{6B6DDBCE-A0B9-4116-B479-39D499E84CDE}" dt="2020-03-06T21:59:52.916" v="219"/>
          <ac:spMkLst>
            <pc:docMk/>
            <pc:sldMk cId="3702163554" sldId="630"/>
            <ac:spMk id="10" creationId="{2112D96C-AB9F-4924-8996-4DEFF0DEC136}"/>
          </ac:spMkLst>
        </pc:spChg>
        <pc:picChg chg="mod">
          <ac:chgData name="Daniel Valero" userId="31dd2ff7-9a08-462f-9096-6c487a317220" providerId="ADAL" clId="{6B6DDBCE-A0B9-4116-B479-39D499E84CDE}" dt="2020-03-06T22:00:25.577" v="230" actId="1076"/>
          <ac:picMkLst>
            <pc:docMk/>
            <pc:sldMk cId="3702163554" sldId="630"/>
            <ac:picMk id="6" creationId="{3E011ADC-9AED-4A4A-A6ED-0A60F49999A4}"/>
          </ac:picMkLst>
        </pc:picChg>
      </pc:sldChg>
      <pc:sldChg chg="addSp modSp mod">
        <pc:chgData name="Daniel Valero" userId="31dd2ff7-9a08-462f-9096-6c487a317220" providerId="ADAL" clId="{6B6DDBCE-A0B9-4116-B479-39D499E84CDE}" dt="2020-03-06T22:04:55.793" v="287" actId="255"/>
        <pc:sldMkLst>
          <pc:docMk/>
          <pc:sldMk cId="2502654232" sldId="640"/>
        </pc:sldMkLst>
        <pc:spChg chg="mod">
          <ac:chgData name="Daniel Valero" userId="31dd2ff7-9a08-462f-9096-6c487a317220" providerId="ADAL" clId="{6B6DDBCE-A0B9-4116-B479-39D499E84CDE}" dt="2020-03-06T22:04:04.014" v="278" actId="14100"/>
          <ac:spMkLst>
            <pc:docMk/>
            <pc:sldMk cId="2502654232" sldId="640"/>
            <ac:spMk id="6" creationId="{B2DA85DE-71D1-48B3-823A-E1808778A06F}"/>
          </ac:spMkLst>
        </pc:spChg>
        <pc:graphicFrameChg chg="add mod modGraphic">
          <ac:chgData name="Daniel Valero" userId="31dd2ff7-9a08-462f-9096-6c487a317220" providerId="ADAL" clId="{6B6DDBCE-A0B9-4116-B479-39D499E84CDE}" dt="2020-03-06T22:04:55.793" v="287" actId="255"/>
          <ac:graphicFrameMkLst>
            <pc:docMk/>
            <pc:sldMk cId="2502654232" sldId="640"/>
            <ac:graphicFrameMk id="4" creationId="{C117F7AD-84C8-4D38-9A4A-B8E714D837FA}"/>
          </ac:graphicFrameMkLst>
        </pc:graphicFrameChg>
      </pc:sldChg>
      <pc:sldChg chg="addSp delSp modSp mod">
        <pc:chgData name="Daniel Valero" userId="31dd2ff7-9a08-462f-9096-6c487a317220" providerId="ADAL" clId="{6B6DDBCE-A0B9-4116-B479-39D499E84CDE}" dt="2020-03-06T21:54:11.849" v="188" actId="1076"/>
        <pc:sldMkLst>
          <pc:docMk/>
          <pc:sldMk cId="533282277" sldId="643"/>
        </pc:sldMkLst>
        <pc:spChg chg="add mod">
          <ac:chgData name="Daniel Valero" userId="31dd2ff7-9a08-462f-9096-6c487a317220" providerId="ADAL" clId="{6B6DDBCE-A0B9-4116-B479-39D499E84CDE}" dt="2020-03-06T21:54:11.849" v="188" actId="1076"/>
          <ac:spMkLst>
            <pc:docMk/>
            <pc:sldMk cId="533282277" sldId="643"/>
            <ac:spMk id="5" creationId="{EFA18231-18B7-4763-8D31-D8DADE8A26F2}"/>
          </ac:spMkLst>
        </pc:spChg>
        <pc:spChg chg="add del">
          <ac:chgData name="Daniel Valero" userId="31dd2ff7-9a08-462f-9096-6c487a317220" providerId="ADAL" clId="{6B6DDBCE-A0B9-4116-B479-39D499E84CDE}" dt="2020-03-06T21:53:45.127" v="177"/>
          <ac:spMkLst>
            <pc:docMk/>
            <pc:sldMk cId="533282277" sldId="643"/>
            <ac:spMk id="6" creationId="{141149DE-0B93-4E60-AFEA-E5D4E98472AE}"/>
          </ac:spMkLst>
        </pc:spChg>
        <pc:graphicFrameChg chg="add del mod">
          <ac:chgData name="Daniel Valero" userId="31dd2ff7-9a08-462f-9096-6c487a317220" providerId="ADAL" clId="{6B6DDBCE-A0B9-4116-B479-39D499E84CDE}" dt="2020-03-06T21:53:53.116" v="180" actId="478"/>
          <ac:graphicFrameMkLst>
            <pc:docMk/>
            <pc:sldMk cId="533282277" sldId="643"/>
            <ac:graphicFrameMk id="4" creationId="{BBDAC1E8-19B2-4351-BCA3-CFF0A90C4511}"/>
          </ac:graphicFrameMkLst>
        </pc:graphicFrameChg>
      </pc:sldChg>
      <pc:sldChg chg="addSp delSp modSp new add del mod">
        <pc:chgData name="Daniel Valero" userId="31dd2ff7-9a08-462f-9096-6c487a317220" providerId="ADAL" clId="{6B6DDBCE-A0B9-4116-B479-39D499E84CDE}" dt="2020-03-06T21:47:04.255" v="75" actId="680"/>
        <pc:sldMkLst>
          <pc:docMk/>
          <pc:sldMk cId="1767724728" sldId="645"/>
        </pc:sldMkLst>
        <pc:spChg chg="add del mod">
          <ac:chgData name="Daniel Valero" userId="31dd2ff7-9a08-462f-9096-6c487a317220" providerId="ADAL" clId="{6B6DDBCE-A0B9-4116-B479-39D499E84CDE}" dt="2020-03-06T21:47:03.797" v="74" actId="20577"/>
          <ac:spMkLst>
            <pc:docMk/>
            <pc:sldMk cId="1767724728" sldId="645"/>
            <ac:spMk id="4" creationId="{E3C285C1-68FC-408C-B38F-5A6FDA6A5101}"/>
          </ac:spMkLst>
        </pc:spChg>
        <pc:spChg chg="add del mod">
          <ac:chgData name="Daniel Valero" userId="31dd2ff7-9a08-462f-9096-6c487a317220" providerId="ADAL" clId="{6B6DDBCE-A0B9-4116-B479-39D499E84CDE}" dt="2020-03-06T21:47:03.405" v="73" actId="21"/>
          <ac:spMkLst>
            <pc:docMk/>
            <pc:sldMk cId="1767724728" sldId="645"/>
            <ac:spMk id="6" creationId="{4A26E9D7-B648-4D1C-9BD7-B726F51217D1}"/>
          </ac:spMkLst>
        </pc:spChg>
      </pc:sldChg>
    </pc:docChg>
  </pc:docChgLst>
  <pc:docChgLst>
    <pc:chgData name="Batuhan Yildiz" userId="90f344fc-4655-4923-aeaf-697bba59c1a7" providerId="ADAL" clId="{893C3D6B-E236-4D2D-B4C6-0B4B748096BC}"/>
    <pc:docChg chg="undo custSel modSld addSection modSection">
      <pc:chgData name="Batuhan Yildiz" userId="90f344fc-4655-4923-aeaf-697bba59c1a7" providerId="ADAL" clId="{893C3D6B-E236-4D2D-B4C6-0B4B748096BC}" dt="2020-02-05T03:04:24.823" v="361" actId="20577"/>
      <pc:docMkLst>
        <pc:docMk/>
      </pc:docMkLst>
      <pc:sldChg chg="modSp mod">
        <pc:chgData name="Batuhan Yildiz" userId="90f344fc-4655-4923-aeaf-697bba59c1a7" providerId="ADAL" clId="{893C3D6B-E236-4D2D-B4C6-0B4B748096BC}" dt="2020-02-05T02:46:46.811" v="355" actId="20577"/>
        <pc:sldMkLst>
          <pc:docMk/>
          <pc:sldMk cId="1196121053" sldId="260"/>
        </pc:sldMkLst>
        <pc:spChg chg="mod">
          <ac:chgData name="Batuhan Yildiz" userId="90f344fc-4655-4923-aeaf-697bba59c1a7" providerId="ADAL" clId="{893C3D6B-E236-4D2D-B4C6-0B4B748096BC}" dt="2020-02-04T23:15:51.994" v="27" actId="20577"/>
          <ac:spMkLst>
            <pc:docMk/>
            <pc:sldMk cId="1196121053" sldId="260"/>
            <ac:spMk id="4" creationId="{5D85DF47-300F-4085-B774-DDE734B96F99}"/>
          </ac:spMkLst>
        </pc:spChg>
        <pc:spChg chg="mod">
          <ac:chgData name="Batuhan Yildiz" userId="90f344fc-4655-4923-aeaf-697bba59c1a7" providerId="ADAL" clId="{893C3D6B-E236-4D2D-B4C6-0B4B748096BC}" dt="2020-02-05T02:46:46.811" v="355" actId="20577"/>
          <ac:spMkLst>
            <pc:docMk/>
            <pc:sldMk cId="1196121053" sldId="260"/>
            <ac:spMk id="5" creationId="{806AE5AE-CAF0-4BF4-872E-C97AF8874A6F}"/>
          </ac:spMkLst>
        </pc:spChg>
      </pc:sldChg>
      <pc:sldChg chg="modSp">
        <pc:chgData name="Batuhan Yildiz" userId="90f344fc-4655-4923-aeaf-697bba59c1a7" providerId="ADAL" clId="{893C3D6B-E236-4D2D-B4C6-0B4B748096BC}" dt="2020-02-04T23:20:16.219" v="334"/>
        <pc:sldMkLst>
          <pc:docMk/>
          <pc:sldMk cId="4083746080" sldId="561"/>
        </pc:sldMkLst>
        <pc:spChg chg="mod">
          <ac:chgData name="Batuhan Yildiz" userId="90f344fc-4655-4923-aeaf-697bba59c1a7" providerId="ADAL" clId="{893C3D6B-E236-4D2D-B4C6-0B4B748096BC}" dt="2020-02-04T23:20:16.219" v="334"/>
          <ac:spMkLst>
            <pc:docMk/>
            <pc:sldMk cId="4083746080" sldId="561"/>
            <ac:spMk id="2" creationId="{74CD77A6-E28D-4D8D-9FE5-64ADAA827AC9}"/>
          </ac:spMkLst>
        </pc:spChg>
      </pc:sldChg>
      <pc:sldChg chg="modSp mod">
        <pc:chgData name="Batuhan Yildiz" userId="90f344fc-4655-4923-aeaf-697bba59c1a7" providerId="ADAL" clId="{893C3D6B-E236-4D2D-B4C6-0B4B748096BC}" dt="2020-02-05T03:04:12.361" v="358" actId="20577"/>
        <pc:sldMkLst>
          <pc:docMk/>
          <pc:sldMk cId="1615560134" sldId="562"/>
        </pc:sldMkLst>
        <pc:spChg chg="mod">
          <ac:chgData name="Batuhan Yildiz" userId="90f344fc-4655-4923-aeaf-697bba59c1a7" providerId="ADAL" clId="{893C3D6B-E236-4D2D-B4C6-0B4B748096BC}" dt="2020-02-05T03:04:12.361" v="358" actId="20577"/>
          <ac:spMkLst>
            <pc:docMk/>
            <pc:sldMk cId="1615560134" sldId="562"/>
            <ac:spMk id="3" creationId="{859B2BAE-A383-4E74-B3CF-9AC64DA11727}"/>
          </ac:spMkLst>
        </pc:spChg>
      </pc:sldChg>
      <pc:sldChg chg="modSp mod">
        <pc:chgData name="Batuhan Yildiz" userId="90f344fc-4655-4923-aeaf-697bba59c1a7" providerId="ADAL" clId="{893C3D6B-E236-4D2D-B4C6-0B4B748096BC}" dt="2020-02-04T23:21:14.575" v="336" actId="14100"/>
        <pc:sldMkLst>
          <pc:docMk/>
          <pc:sldMk cId="289400407" sldId="564"/>
        </pc:sldMkLst>
        <pc:spChg chg="mod">
          <ac:chgData name="Batuhan Yildiz" userId="90f344fc-4655-4923-aeaf-697bba59c1a7" providerId="ADAL" clId="{893C3D6B-E236-4D2D-B4C6-0B4B748096BC}" dt="2020-02-04T23:21:14.575" v="336" actId="14100"/>
          <ac:spMkLst>
            <pc:docMk/>
            <pc:sldMk cId="289400407" sldId="564"/>
            <ac:spMk id="2" creationId="{74CD77A6-E28D-4D8D-9FE5-64ADAA827AC9}"/>
          </ac:spMkLst>
        </pc:spChg>
      </pc:sldChg>
      <pc:sldChg chg="modSp">
        <pc:chgData name="Batuhan Yildiz" userId="90f344fc-4655-4923-aeaf-697bba59c1a7" providerId="ADAL" clId="{893C3D6B-E236-4D2D-B4C6-0B4B748096BC}" dt="2020-02-04T23:21:40.351" v="337"/>
        <pc:sldMkLst>
          <pc:docMk/>
          <pc:sldMk cId="57495843" sldId="571"/>
        </pc:sldMkLst>
        <pc:spChg chg="mod">
          <ac:chgData name="Batuhan Yildiz" userId="90f344fc-4655-4923-aeaf-697bba59c1a7" providerId="ADAL" clId="{893C3D6B-E236-4D2D-B4C6-0B4B748096BC}" dt="2020-02-04T23:21:40.351" v="337"/>
          <ac:spMkLst>
            <pc:docMk/>
            <pc:sldMk cId="57495843" sldId="571"/>
            <ac:spMk id="2" creationId="{74CD77A6-E28D-4D8D-9FE5-64ADAA827AC9}"/>
          </ac:spMkLst>
        </pc:spChg>
      </pc:sldChg>
      <pc:sldChg chg="modSp">
        <pc:chgData name="Batuhan Yildiz" userId="90f344fc-4655-4923-aeaf-697bba59c1a7" providerId="ADAL" clId="{893C3D6B-E236-4D2D-B4C6-0B4B748096BC}" dt="2020-02-04T23:22:36.314" v="340"/>
        <pc:sldMkLst>
          <pc:docMk/>
          <pc:sldMk cId="1611742758" sldId="578"/>
        </pc:sldMkLst>
        <pc:spChg chg="mod">
          <ac:chgData name="Batuhan Yildiz" userId="90f344fc-4655-4923-aeaf-697bba59c1a7" providerId="ADAL" clId="{893C3D6B-E236-4D2D-B4C6-0B4B748096BC}" dt="2020-02-04T23:22:36.314" v="340"/>
          <ac:spMkLst>
            <pc:docMk/>
            <pc:sldMk cId="1611742758" sldId="578"/>
            <ac:spMk id="2" creationId="{74CD77A6-E28D-4D8D-9FE5-64ADAA827AC9}"/>
          </ac:spMkLst>
        </pc:spChg>
      </pc:sldChg>
      <pc:sldChg chg="modSp">
        <pc:chgData name="Batuhan Yildiz" userId="90f344fc-4655-4923-aeaf-697bba59c1a7" providerId="ADAL" clId="{893C3D6B-E236-4D2D-B4C6-0B4B748096BC}" dt="2020-02-04T23:23:17.371" v="343"/>
        <pc:sldMkLst>
          <pc:docMk/>
          <pc:sldMk cId="3265042349" sldId="585"/>
        </pc:sldMkLst>
        <pc:spChg chg="mod">
          <ac:chgData name="Batuhan Yildiz" userId="90f344fc-4655-4923-aeaf-697bba59c1a7" providerId="ADAL" clId="{893C3D6B-E236-4D2D-B4C6-0B4B748096BC}" dt="2020-02-04T23:23:17.371" v="343"/>
          <ac:spMkLst>
            <pc:docMk/>
            <pc:sldMk cId="3265042349" sldId="585"/>
            <ac:spMk id="2" creationId="{74CD77A6-E28D-4D8D-9FE5-64ADAA827AC9}"/>
          </ac:spMkLst>
        </pc:spChg>
      </pc:sldChg>
      <pc:sldChg chg="modSp">
        <pc:chgData name="Batuhan Yildiz" userId="90f344fc-4655-4923-aeaf-697bba59c1a7" providerId="ADAL" clId="{893C3D6B-E236-4D2D-B4C6-0B4B748096BC}" dt="2020-02-04T23:23:47.265" v="346"/>
        <pc:sldMkLst>
          <pc:docMk/>
          <pc:sldMk cId="1945948018" sldId="592"/>
        </pc:sldMkLst>
        <pc:spChg chg="mod">
          <ac:chgData name="Batuhan Yildiz" userId="90f344fc-4655-4923-aeaf-697bba59c1a7" providerId="ADAL" clId="{893C3D6B-E236-4D2D-B4C6-0B4B748096BC}" dt="2020-02-04T23:23:47.265" v="346"/>
          <ac:spMkLst>
            <pc:docMk/>
            <pc:sldMk cId="1945948018" sldId="592"/>
            <ac:spMk id="2" creationId="{74CD77A6-E28D-4D8D-9FE5-64ADAA827AC9}"/>
          </ac:spMkLst>
        </pc:spChg>
      </pc:sldChg>
      <pc:sldChg chg="modSp">
        <pc:chgData name="Batuhan Yildiz" userId="90f344fc-4655-4923-aeaf-697bba59c1a7" providerId="ADAL" clId="{893C3D6B-E236-4D2D-B4C6-0B4B748096BC}" dt="2020-02-04T23:24:26.583" v="349"/>
        <pc:sldMkLst>
          <pc:docMk/>
          <pc:sldMk cId="809679049" sldId="599"/>
        </pc:sldMkLst>
        <pc:spChg chg="mod">
          <ac:chgData name="Batuhan Yildiz" userId="90f344fc-4655-4923-aeaf-697bba59c1a7" providerId="ADAL" clId="{893C3D6B-E236-4D2D-B4C6-0B4B748096BC}" dt="2020-02-04T23:24:26.583" v="349"/>
          <ac:spMkLst>
            <pc:docMk/>
            <pc:sldMk cId="809679049" sldId="599"/>
            <ac:spMk id="2" creationId="{74CD77A6-E28D-4D8D-9FE5-64ADAA827AC9}"/>
          </ac:spMkLst>
        </pc:spChg>
      </pc:sldChg>
      <pc:sldChg chg="modSp mod">
        <pc:chgData name="Batuhan Yildiz" userId="90f344fc-4655-4923-aeaf-697bba59c1a7" providerId="ADAL" clId="{893C3D6B-E236-4D2D-B4C6-0B4B748096BC}" dt="2020-02-05T03:04:24.823" v="361" actId="20577"/>
        <pc:sldMkLst>
          <pc:docMk/>
          <pc:sldMk cId="2219648348" sldId="606"/>
        </pc:sldMkLst>
        <pc:spChg chg="mod">
          <ac:chgData name="Batuhan Yildiz" userId="90f344fc-4655-4923-aeaf-697bba59c1a7" providerId="ADAL" clId="{893C3D6B-E236-4D2D-B4C6-0B4B748096BC}" dt="2020-02-05T03:04:24.823" v="361" actId="20577"/>
          <ac:spMkLst>
            <pc:docMk/>
            <pc:sldMk cId="2219648348" sldId="606"/>
            <ac:spMk id="2" creationId="{74CD77A6-E28D-4D8D-9FE5-64ADAA827AC9}"/>
          </ac:spMkLst>
        </pc:spChg>
      </pc:sldChg>
    </pc:docChg>
  </pc:docChgLst>
  <pc:docChgLst>
    <pc:chgData name="Daniel Valero" userId="31dd2ff7-9a08-462f-9096-6c487a317220" providerId="ADAL" clId="{A32C2E7F-55B4-4A10-ABC7-8439091E8E7B}"/>
    <pc:docChg chg="undo custSel delSld modSld modSection">
      <pc:chgData name="Daniel Valero" userId="31dd2ff7-9a08-462f-9096-6c487a317220" providerId="ADAL" clId="{A32C2E7F-55B4-4A10-ABC7-8439091E8E7B}" dt="2020-02-27T21:11:13.758" v="603" actId="6549"/>
      <pc:docMkLst>
        <pc:docMk/>
      </pc:docMkLst>
      <pc:sldChg chg="modSp modNotesTx">
        <pc:chgData name="Daniel Valero" userId="31dd2ff7-9a08-462f-9096-6c487a317220" providerId="ADAL" clId="{A32C2E7F-55B4-4A10-ABC7-8439091E8E7B}" dt="2020-02-27T15:29:30.475" v="39" actId="12"/>
        <pc:sldMkLst>
          <pc:docMk/>
          <pc:sldMk cId="3235270007" sldId="257"/>
        </pc:sldMkLst>
        <pc:graphicFrameChg chg="mod">
          <ac:chgData name="Daniel Valero" userId="31dd2ff7-9a08-462f-9096-6c487a317220" providerId="ADAL" clId="{A32C2E7F-55B4-4A10-ABC7-8439091E8E7B}" dt="2020-02-27T15:28:24.341" v="1" actId="20577"/>
          <ac:graphicFrameMkLst>
            <pc:docMk/>
            <pc:sldMk cId="3235270007" sldId="257"/>
            <ac:graphicFrameMk id="10" creationId="{2E361A70-62E8-4C24-8093-F2EEBBF0058D}"/>
          </ac:graphicFrameMkLst>
        </pc:graphicFrameChg>
      </pc:sldChg>
      <pc:sldChg chg="del modNotesTx">
        <pc:chgData name="Daniel Valero" userId="31dd2ff7-9a08-462f-9096-6c487a317220" providerId="ADAL" clId="{A32C2E7F-55B4-4A10-ABC7-8439091E8E7B}" dt="2020-02-27T15:40:40.231" v="169" actId="47"/>
        <pc:sldMkLst>
          <pc:docMk/>
          <pc:sldMk cId="3763190002" sldId="302"/>
        </pc:sldMkLst>
      </pc:sldChg>
      <pc:sldChg chg="modSp mod modNotesTx">
        <pc:chgData name="Daniel Valero" userId="31dd2ff7-9a08-462f-9096-6c487a317220" providerId="ADAL" clId="{A32C2E7F-55B4-4A10-ABC7-8439091E8E7B}" dt="2020-02-27T20:18:38.362" v="451" actId="20577"/>
        <pc:sldMkLst>
          <pc:docMk/>
          <pc:sldMk cId="4267675391" sldId="531"/>
        </pc:sldMkLst>
        <pc:spChg chg="mod">
          <ac:chgData name="Daniel Valero" userId="31dd2ff7-9a08-462f-9096-6c487a317220" providerId="ADAL" clId="{A32C2E7F-55B4-4A10-ABC7-8439091E8E7B}" dt="2020-02-27T19:52:38.989" v="365" actId="20577"/>
          <ac:spMkLst>
            <pc:docMk/>
            <pc:sldMk cId="4267675391" sldId="531"/>
            <ac:spMk id="6" creationId="{637E159C-9ACF-48AE-927A-D5FB13695C7F}"/>
          </ac:spMkLst>
        </pc:spChg>
      </pc:sldChg>
      <pc:sldChg chg="modSp">
        <pc:chgData name="Daniel Valero" userId="31dd2ff7-9a08-462f-9096-6c487a317220" providerId="ADAL" clId="{A32C2E7F-55B4-4A10-ABC7-8439091E8E7B}" dt="2020-02-27T15:36:47.319" v="99" actId="14100"/>
        <pc:sldMkLst>
          <pc:docMk/>
          <pc:sldMk cId="4221783869" sldId="566"/>
        </pc:sldMkLst>
        <pc:graphicFrameChg chg="mod">
          <ac:chgData name="Daniel Valero" userId="31dd2ff7-9a08-462f-9096-6c487a317220" providerId="ADAL" clId="{A32C2E7F-55B4-4A10-ABC7-8439091E8E7B}" dt="2020-02-27T15:36:47.319" v="99" actId="14100"/>
          <ac:graphicFrameMkLst>
            <pc:docMk/>
            <pc:sldMk cId="4221783869" sldId="566"/>
            <ac:graphicFrameMk id="9" creationId="{C7E54BA4-B9D5-4384-9A0F-2BBF5913642C}"/>
          </ac:graphicFrameMkLst>
        </pc:graphicFrameChg>
      </pc:sldChg>
      <pc:sldChg chg="modSp mod modNotesTx">
        <pc:chgData name="Daniel Valero" userId="31dd2ff7-9a08-462f-9096-6c487a317220" providerId="ADAL" clId="{A32C2E7F-55B4-4A10-ABC7-8439091E8E7B}" dt="2020-02-27T20:19:07.116" v="454" actId="20577"/>
        <pc:sldMkLst>
          <pc:docMk/>
          <pc:sldMk cId="670385602" sldId="567"/>
        </pc:sldMkLst>
        <pc:spChg chg="mod">
          <ac:chgData name="Daniel Valero" userId="31dd2ff7-9a08-462f-9096-6c487a317220" providerId="ADAL" clId="{A32C2E7F-55B4-4A10-ABC7-8439091E8E7B}" dt="2020-02-27T20:17:57.080" v="399" actId="790"/>
          <ac:spMkLst>
            <pc:docMk/>
            <pc:sldMk cId="670385602" sldId="567"/>
            <ac:spMk id="3" creationId="{8F64A22E-2B43-4FC6-AF08-0CDB3F9E9269}"/>
          </ac:spMkLst>
        </pc:spChg>
        <pc:spChg chg="mod">
          <ac:chgData name="Daniel Valero" userId="31dd2ff7-9a08-462f-9096-6c487a317220" providerId="ADAL" clId="{A32C2E7F-55B4-4A10-ABC7-8439091E8E7B}" dt="2020-02-27T20:18:13.675" v="446" actId="20577"/>
          <ac:spMkLst>
            <pc:docMk/>
            <pc:sldMk cId="670385602" sldId="567"/>
            <ac:spMk id="6" creationId="{637E159C-9ACF-48AE-927A-D5FB13695C7F}"/>
          </ac:spMkLst>
        </pc:spChg>
      </pc:sldChg>
      <pc:sldChg chg="modSp mod">
        <pc:chgData name="Daniel Valero" userId="31dd2ff7-9a08-462f-9096-6c487a317220" providerId="ADAL" clId="{A32C2E7F-55B4-4A10-ABC7-8439091E8E7B}" dt="2020-02-27T21:11:13.758" v="603" actId="6549"/>
        <pc:sldMkLst>
          <pc:docMk/>
          <pc:sldMk cId="2147177822" sldId="568"/>
        </pc:sldMkLst>
        <pc:spChg chg="mod">
          <ac:chgData name="Daniel Valero" userId="31dd2ff7-9a08-462f-9096-6c487a317220" providerId="ADAL" clId="{A32C2E7F-55B4-4A10-ABC7-8439091E8E7B}" dt="2020-02-27T20:29:57.407" v="582" actId="790"/>
          <ac:spMkLst>
            <pc:docMk/>
            <pc:sldMk cId="2147177822" sldId="568"/>
            <ac:spMk id="2" creationId="{BC57B38C-8413-4861-A4F5-7DF656AEAD0D}"/>
          </ac:spMkLst>
        </pc:spChg>
        <pc:spChg chg="mod">
          <ac:chgData name="Daniel Valero" userId="31dd2ff7-9a08-462f-9096-6c487a317220" providerId="ADAL" clId="{A32C2E7F-55B4-4A10-ABC7-8439091E8E7B}" dt="2020-02-27T21:11:13.758" v="603" actId="6549"/>
          <ac:spMkLst>
            <pc:docMk/>
            <pc:sldMk cId="2147177822" sldId="568"/>
            <ac:spMk id="3" creationId="{4897B8F8-26DF-42FB-ACB0-59929F1C2344}"/>
          </ac:spMkLst>
        </pc:spChg>
      </pc:sldChg>
      <pc:sldChg chg="modSp mod">
        <pc:chgData name="Daniel Valero" userId="31dd2ff7-9a08-462f-9096-6c487a317220" providerId="ADAL" clId="{A32C2E7F-55B4-4A10-ABC7-8439091E8E7B}" dt="2020-02-27T15:46:23.276" v="310"/>
        <pc:sldMkLst>
          <pc:docMk/>
          <pc:sldMk cId="3424530645" sldId="579"/>
        </pc:sldMkLst>
        <pc:spChg chg="mod">
          <ac:chgData name="Daniel Valero" userId="31dd2ff7-9a08-462f-9096-6c487a317220" providerId="ADAL" clId="{A32C2E7F-55B4-4A10-ABC7-8439091E8E7B}" dt="2020-02-27T15:46:23.276" v="310"/>
          <ac:spMkLst>
            <pc:docMk/>
            <pc:sldMk cId="3424530645" sldId="579"/>
            <ac:spMk id="5" creationId="{55182462-DFDF-4D48-A92C-42FD52821C4E}"/>
          </ac:spMkLst>
        </pc:spChg>
      </pc:sldChg>
      <pc:sldChg chg="modNotesTx">
        <pc:chgData name="Daniel Valero" userId="31dd2ff7-9a08-462f-9096-6c487a317220" providerId="ADAL" clId="{A32C2E7F-55B4-4A10-ABC7-8439091E8E7B}" dt="2020-02-27T15:33:03.331" v="87" actId="6549"/>
        <pc:sldMkLst>
          <pc:docMk/>
          <pc:sldMk cId="3243458079" sldId="597"/>
        </pc:sldMkLst>
      </pc:sldChg>
      <pc:sldChg chg="modNotesTx">
        <pc:chgData name="Daniel Valero" userId="31dd2ff7-9a08-462f-9096-6c487a317220" providerId="ADAL" clId="{A32C2E7F-55B4-4A10-ABC7-8439091E8E7B}" dt="2020-02-27T15:33:43.624" v="90" actId="6549"/>
        <pc:sldMkLst>
          <pc:docMk/>
          <pc:sldMk cId="200290157" sldId="599"/>
        </pc:sldMkLst>
      </pc:sldChg>
      <pc:sldChg chg="modNotesTx">
        <pc:chgData name="Daniel Valero" userId="31dd2ff7-9a08-462f-9096-6c487a317220" providerId="ADAL" clId="{A32C2E7F-55B4-4A10-ABC7-8439091E8E7B}" dt="2020-02-27T15:34:18.561" v="93" actId="6549"/>
        <pc:sldMkLst>
          <pc:docMk/>
          <pc:sldMk cId="994038105" sldId="600"/>
        </pc:sldMkLst>
      </pc:sldChg>
      <pc:sldChg chg="modNotesTx">
        <pc:chgData name="Daniel Valero" userId="31dd2ff7-9a08-462f-9096-6c487a317220" providerId="ADAL" clId="{A32C2E7F-55B4-4A10-ABC7-8439091E8E7B}" dt="2020-02-27T15:34:04.730" v="91" actId="6549"/>
        <pc:sldMkLst>
          <pc:docMk/>
          <pc:sldMk cId="2420422319" sldId="602"/>
        </pc:sldMkLst>
      </pc:sldChg>
      <pc:sldChg chg="modNotesTx">
        <pc:chgData name="Daniel Valero" userId="31dd2ff7-9a08-462f-9096-6c487a317220" providerId="ADAL" clId="{A32C2E7F-55B4-4A10-ABC7-8439091E8E7B}" dt="2020-02-27T15:38:34.784" v="112" actId="12"/>
        <pc:sldMkLst>
          <pc:docMk/>
          <pc:sldMk cId="3804096970" sldId="615"/>
        </pc:sldMkLst>
      </pc:sldChg>
      <pc:sldChg chg="addSp delSp modSp">
        <pc:chgData name="Daniel Valero" userId="31dd2ff7-9a08-462f-9096-6c487a317220" providerId="ADAL" clId="{A32C2E7F-55B4-4A10-ABC7-8439091E8E7B}" dt="2020-02-27T15:36:24.124" v="96" actId="478"/>
        <pc:sldMkLst>
          <pc:docMk/>
          <pc:sldMk cId="508126509" sldId="618"/>
        </pc:sldMkLst>
        <pc:picChg chg="add del mod">
          <ac:chgData name="Daniel Valero" userId="31dd2ff7-9a08-462f-9096-6c487a317220" providerId="ADAL" clId="{A32C2E7F-55B4-4A10-ABC7-8439091E8E7B}" dt="2020-02-27T15:36:24.124" v="96" actId="478"/>
          <ac:picMkLst>
            <pc:docMk/>
            <pc:sldMk cId="508126509" sldId="618"/>
            <ac:picMk id="1026" creationId="{B857C87A-BA10-45CF-9F50-D330A9D7F474}"/>
          </ac:picMkLst>
        </pc:picChg>
      </pc:sldChg>
      <pc:sldChg chg="modNotesTx">
        <pc:chgData name="Daniel Valero" userId="31dd2ff7-9a08-462f-9096-6c487a317220" providerId="ADAL" clId="{A32C2E7F-55B4-4A10-ABC7-8439091E8E7B}" dt="2020-02-27T15:45:31.140" v="280" actId="12"/>
        <pc:sldMkLst>
          <pc:docMk/>
          <pc:sldMk cId="2024360696" sldId="627"/>
        </pc:sldMkLst>
      </pc:sldChg>
      <pc:sldChg chg="modNotesTx">
        <pc:chgData name="Daniel Valero" userId="31dd2ff7-9a08-462f-9096-6c487a317220" providerId="ADAL" clId="{A32C2E7F-55B4-4A10-ABC7-8439091E8E7B}" dt="2020-02-27T15:43:14.646" v="234" actId="12"/>
        <pc:sldMkLst>
          <pc:docMk/>
          <pc:sldMk cId="3568901222" sldId="629"/>
        </pc:sldMkLst>
      </pc:sldChg>
      <pc:sldChg chg="modNotesTx">
        <pc:chgData name="Daniel Valero" userId="31dd2ff7-9a08-462f-9096-6c487a317220" providerId="ADAL" clId="{A32C2E7F-55B4-4A10-ABC7-8439091E8E7B}" dt="2020-02-27T15:37:17.669" v="103" actId="6549"/>
        <pc:sldMkLst>
          <pc:docMk/>
          <pc:sldMk cId="466097575" sldId="633"/>
        </pc:sldMkLst>
      </pc:sldChg>
      <pc:sldChg chg="addSp modSp mod modNotesTx">
        <pc:chgData name="Daniel Valero" userId="31dd2ff7-9a08-462f-9096-6c487a317220" providerId="ADAL" clId="{A32C2E7F-55B4-4A10-ABC7-8439091E8E7B}" dt="2020-02-27T15:41:56.120" v="197" actId="1076"/>
        <pc:sldMkLst>
          <pc:docMk/>
          <pc:sldMk cId="2202610295" sldId="635"/>
        </pc:sldMkLst>
        <pc:graphicFrameChg chg="mod">
          <ac:chgData name="Daniel Valero" userId="31dd2ff7-9a08-462f-9096-6c487a317220" providerId="ADAL" clId="{A32C2E7F-55B4-4A10-ABC7-8439091E8E7B}" dt="2020-02-27T15:41:48.631" v="196" actId="20577"/>
          <ac:graphicFrameMkLst>
            <pc:docMk/>
            <pc:sldMk cId="2202610295" sldId="635"/>
            <ac:graphicFrameMk id="5" creationId="{85FCFEA5-76C0-481C-AAC4-2ED55A37454B}"/>
          </ac:graphicFrameMkLst>
        </pc:graphicFrameChg>
        <pc:picChg chg="add mod">
          <ac:chgData name="Daniel Valero" userId="31dd2ff7-9a08-462f-9096-6c487a317220" providerId="ADAL" clId="{A32C2E7F-55B4-4A10-ABC7-8439091E8E7B}" dt="2020-02-27T15:41:56.120" v="197" actId="1076"/>
          <ac:picMkLst>
            <pc:docMk/>
            <pc:sldMk cId="2202610295" sldId="635"/>
            <ac:picMk id="6" creationId="{7DE32251-19FA-407E-995F-625B8418B5D2}"/>
          </ac:picMkLst>
        </pc:picChg>
        <pc:picChg chg="add mod ord">
          <ac:chgData name="Daniel Valero" userId="31dd2ff7-9a08-462f-9096-6c487a317220" providerId="ADAL" clId="{A32C2E7F-55B4-4A10-ABC7-8439091E8E7B}" dt="2020-02-27T15:40:23.480" v="166" actId="167"/>
          <ac:picMkLst>
            <pc:docMk/>
            <pc:sldMk cId="2202610295" sldId="635"/>
            <ac:picMk id="7" creationId="{88A788D7-8552-4B7E-A8E0-60F745ADD10C}"/>
          </ac:picMkLst>
        </pc:picChg>
      </pc:sldChg>
      <pc:sldMasterChg chg="delSldLayout">
        <pc:chgData name="Daniel Valero" userId="31dd2ff7-9a08-462f-9096-6c487a317220" providerId="ADAL" clId="{A32C2E7F-55B4-4A10-ABC7-8439091E8E7B}" dt="2020-02-27T15:40:40.231" v="169" actId="47"/>
        <pc:sldMasterMkLst>
          <pc:docMk/>
          <pc:sldMasterMk cId="1044402230" sldId="2147483706"/>
        </pc:sldMasterMkLst>
        <pc:sldLayoutChg chg="del">
          <pc:chgData name="Daniel Valero" userId="31dd2ff7-9a08-462f-9096-6c487a317220" providerId="ADAL" clId="{A32C2E7F-55B4-4A10-ABC7-8439091E8E7B}" dt="2020-02-27T15:40:40.231" v="169" actId="47"/>
          <pc:sldLayoutMkLst>
            <pc:docMk/>
            <pc:sldMasterMk cId="1044402230" sldId="2147483706"/>
            <pc:sldLayoutMk cId="3822577364" sldId="2147483754"/>
          </pc:sldLayoutMkLst>
        </pc:sldLayoutChg>
      </pc:sldMasterChg>
    </pc:docChg>
  </pc:docChgLst>
  <pc:docChgLst>
    <pc:chgData name="Daniel Valero" userId="31dd2ff7-9a08-462f-9096-6c487a317220" providerId="ADAL" clId="{3233A037-A696-4C5C-A7EB-1B25237BBA68}"/>
    <pc:docChg chg="modSld">
      <pc:chgData name="Daniel Valero" userId="31dd2ff7-9a08-462f-9096-6c487a317220" providerId="ADAL" clId="{3233A037-A696-4C5C-A7EB-1B25237BBA68}" dt="2020-03-18T16:11:29" v="28" actId="20577"/>
      <pc:docMkLst>
        <pc:docMk/>
      </pc:docMkLst>
      <pc:sldChg chg="modSp">
        <pc:chgData name="Daniel Valero" userId="31dd2ff7-9a08-462f-9096-6c487a317220" providerId="ADAL" clId="{3233A037-A696-4C5C-A7EB-1B25237BBA68}" dt="2020-03-18T16:11:29" v="28" actId="20577"/>
        <pc:sldMkLst>
          <pc:docMk/>
          <pc:sldMk cId="2857195574" sldId="632"/>
        </pc:sldMkLst>
        <pc:graphicFrameChg chg="mod">
          <ac:chgData name="Daniel Valero" userId="31dd2ff7-9a08-462f-9096-6c487a317220" providerId="ADAL" clId="{3233A037-A696-4C5C-A7EB-1B25237BBA68}" dt="2020-03-18T16:11:29" v="28" actId="20577"/>
          <ac:graphicFrameMkLst>
            <pc:docMk/>
            <pc:sldMk cId="2857195574" sldId="632"/>
            <ac:graphicFrameMk id="10" creationId="{75AC7946-B543-4AC6-BEEB-2081C063A73D}"/>
          </ac:graphicFrameMkLst>
        </pc:graphicFrameChg>
      </pc:sldChg>
      <pc:sldChg chg="modSp">
        <pc:chgData name="Daniel Valero" userId="31dd2ff7-9a08-462f-9096-6c487a317220" providerId="ADAL" clId="{3233A037-A696-4C5C-A7EB-1B25237BBA68}" dt="2020-03-18T16:10:28.446" v="20" actId="255"/>
        <pc:sldMkLst>
          <pc:docMk/>
          <pc:sldMk cId="2202610295" sldId="635"/>
        </pc:sldMkLst>
        <pc:graphicFrameChg chg="mod">
          <ac:chgData name="Daniel Valero" userId="31dd2ff7-9a08-462f-9096-6c487a317220" providerId="ADAL" clId="{3233A037-A696-4C5C-A7EB-1B25237BBA68}" dt="2020-03-18T16:10:28.446" v="20" actId="255"/>
          <ac:graphicFrameMkLst>
            <pc:docMk/>
            <pc:sldMk cId="2202610295" sldId="635"/>
            <ac:graphicFrameMk id="5" creationId="{85FCFEA5-76C0-481C-AAC4-2ED55A37454B}"/>
          </ac:graphicFrameMkLst>
        </pc:graphicFrameChg>
      </pc:sldChg>
    </pc:docChg>
  </pc:docChgLst>
  <pc:docChgLst>
    <pc:chgData name="Sam Mesel" userId="1ee7badb-5d1f-4872-89ae-dcf7b71f276a" providerId="ADAL" clId="{7CA32505-6B2D-42E2-BE02-A2878D8E3640}"/>
    <pc:docChg chg="undo custSel addSld delSld modSld modSection">
      <pc:chgData name="Sam Mesel" userId="1ee7badb-5d1f-4872-89ae-dcf7b71f276a" providerId="ADAL" clId="{7CA32505-6B2D-42E2-BE02-A2878D8E3640}" dt="2020-03-20T19:28:07.294" v="2711" actId="12"/>
      <pc:docMkLst>
        <pc:docMk/>
      </pc:docMkLst>
      <pc:sldChg chg="modSp modNotes">
        <pc:chgData name="Sam Mesel" userId="1ee7badb-5d1f-4872-89ae-dcf7b71f276a" providerId="ADAL" clId="{7CA32505-6B2D-42E2-BE02-A2878D8E3640}" dt="2020-03-05T21:08:12.644" v="271" actId="20577"/>
        <pc:sldMkLst>
          <pc:docMk/>
          <pc:sldMk cId="3235270007" sldId="257"/>
        </pc:sldMkLst>
        <pc:graphicFrameChg chg="mod">
          <ac:chgData name="Sam Mesel" userId="1ee7badb-5d1f-4872-89ae-dcf7b71f276a" providerId="ADAL" clId="{7CA32505-6B2D-42E2-BE02-A2878D8E3640}" dt="2020-03-05T21:08:12.644" v="271" actId="20577"/>
          <ac:graphicFrameMkLst>
            <pc:docMk/>
            <pc:sldMk cId="3235270007" sldId="257"/>
            <ac:graphicFrameMk id="10" creationId="{2E361A70-62E8-4C24-8093-F2EEBBF0058D}"/>
          </ac:graphicFrameMkLst>
        </pc:graphicFrameChg>
      </pc:sldChg>
      <pc:sldChg chg="modSp mod">
        <pc:chgData name="Sam Mesel" userId="1ee7badb-5d1f-4872-89ae-dcf7b71f276a" providerId="ADAL" clId="{7CA32505-6B2D-42E2-BE02-A2878D8E3640}" dt="2020-03-17T23:14:56.498" v="2449" actId="6549"/>
        <pc:sldMkLst>
          <pc:docMk/>
          <pc:sldMk cId="4267675391" sldId="531"/>
        </pc:sldMkLst>
        <pc:spChg chg="mod">
          <ac:chgData name="Sam Mesel" userId="1ee7badb-5d1f-4872-89ae-dcf7b71f276a" providerId="ADAL" clId="{7CA32505-6B2D-42E2-BE02-A2878D8E3640}" dt="2020-03-17T23:14:56.498" v="2449" actId="6549"/>
          <ac:spMkLst>
            <pc:docMk/>
            <pc:sldMk cId="4267675391" sldId="531"/>
            <ac:spMk id="6" creationId="{637E159C-9ACF-48AE-927A-D5FB13695C7F}"/>
          </ac:spMkLst>
        </pc:spChg>
      </pc:sldChg>
      <pc:sldChg chg="modSp mod">
        <pc:chgData name="Sam Mesel" userId="1ee7badb-5d1f-4872-89ae-dcf7b71f276a" providerId="ADAL" clId="{7CA32505-6B2D-42E2-BE02-A2878D8E3640}" dt="2020-03-05T02:26:16.809" v="2" actId="6549"/>
        <pc:sldMkLst>
          <pc:docMk/>
          <pc:sldMk cId="2621600474" sldId="534"/>
        </pc:sldMkLst>
        <pc:spChg chg="mod">
          <ac:chgData name="Sam Mesel" userId="1ee7badb-5d1f-4872-89ae-dcf7b71f276a" providerId="ADAL" clId="{7CA32505-6B2D-42E2-BE02-A2878D8E3640}" dt="2020-03-05T02:26:16.809" v="2" actId="6549"/>
          <ac:spMkLst>
            <pc:docMk/>
            <pc:sldMk cId="2621600474" sldId="534"/>
            <ac:spMk id="5" creationId="{55182462-DFDF-4D48-A92C-42FD52821C4E}"/>
          </ac:spMkLst>
        </pc:spChg>
      </pc:sldChg>
      <pc:sldChg chg="del">
        <pc:chgData name="Sam Mesel" userId="1ee7badb-5d1f-4872-89ae-dcf7b71f276a" providerId="ADAL" clId="{7CA32505-6B2D-42E2-BE02-A2878D8E3640}" dt="2020-03-17T23:15:01.914" v="2450" actId="47"/>
        <pc:sldMkLst>
          <pc:docMk/>
          <pc:sldMk cId="1861621179" sldId="535"/>
        </pc:sldMkLst>
      </pc:sldChg>
      <pc:sldChg chg="modSp">
        <pc:chgData name="Sam Mesel" userId="1ee7badb-5d1f-4872-89ae-dcf7b71f276a" providerId="ADAL" clId="{7CA32505-6B2D-42E2-BE02-A2878D8E3640}" dt="2020-03-05T21:52:13.394" v="1127" actId="113"/>
        <pc:sldMkLst>
          <pc:docMk/>
          <pc:sldMk cId="3735096506" sldId="563"/>
        </pc:sldMkLst>
        <pc:graphicFrameChg chg="mod">
          <ac:chgData name="Sam Mesel" userId="1ee7badb-5d1f-4872-89ae-dcf7b71f276a" providerId="ADAL" clId="{7CA32505-6B2D-42E2-BE02-A2878D8E3640}" dt="2020-03-05T21:52:13.394" v="1127" actId="113"/>
          <ac:graphicFrameMkLst>
            <pc:docMk/>
            <pc:sldMk cId="3735096506" sldId="563"/>
            <ac:graphicFrameMk id="3" creationId="{9484E1FE-7534-495E-863C-657A46F5E628}"/>
          </ac:graphicFrameMkLst>
        </pc:graphicFrameChg>
      </pc:sldChg>
      <pc:sldChg chg="modSp mod">
        <pc:chgData name="Sam Mesel" userId="1ee7badb-5d1f-4872-89ae-dcf7b71f276a" providerId="ADAL" clId="{7CA32505-6B2D-42E2-BE02-A2878D8E3640}" dt="2020-03-05T21:53:29.270" v="1162" actId="20577"/>
        <pc:sldMkLst>
          <pc:docMk/>
          <pc:sldMk cId="2034824179" sldId="565"/>
        </pc:sldMkLst>
        <pc:spChg chg="mod">
          <ac:chgData name="Sam Mesel" userId="1ee7badb-5d1f-4872-89ae-dcf7b71f276a" providerId="ADAL" clId="{7CA32505-6B2D-42E2-BE02-A2878D8E3640}" dt="2020-03-05T21:53:29.270" v="1162" actId="20577"/>
          <ac:spMkLst>
            <pc:docMk/>
            <pc:sldMk cId="2034824179" sldId="565"/>
            <ac:spMk id="5" creationId="{55182462-DFDF-4D48-A92C-42FD52821C4E}"/>
          </ac:spMkLst>
        </pc:spChg>
      </pc:sldChg>
      <pc:sldChg chg="modSp mod">
        <pc:chgData name="Sam Mesel" userId="1ee7badb-5d1f-4872-89ae-dcf7b71f276a" providerId="ADAL" clId="{7CA32505-6B2D-42E2-BE02-A2878D8E3640}" dt="2020-03-05T03:58:35.018" v="170" actId="6549"/>
        <pc:sldMkLst>
          <pc:docMk/>
          <pc:sldMk cId="4221783869" sldId="566"/>
        </pc:sldMkLst>
        <pc:spChg chg="mod">
          <ac:chgData name="Sam Mesel" userId="1ee7badb-5d1f-4872-89ae-dcf7b71f276a" providerId="ADAL" clId="{7CA32505-6B2D-42E2-BE02-A2878D8E3640}" dt="2020-03-05T03:58:30.087" v="169" actId="20577"/>
          <ac:spMkLst>
            <pc:docMk/>
            <pc:sldMk cId="4221783869" sldId="566"/>
            <ac:spMk id="2" creationId="{EB67312A-9819-43C6-8D84-D9136E6CFFCC}"/>
          </ac:spMkLst>
        </pc:spChg>
        <pc:spChg chg="mod">
          <ac:chgData name="Sam Mesel" userId="1ee7badb-5d1f-4872-89ae-dcf7b71f276a" providerId="ADAL" clId="{7CA32505-6B2D-42E2-BE02-A2878D8E3640}" dt="2020-03-05T03:58:35.018" v="170" actId="6549"/>
          <ac:spMkLst>
            <pc:docMk/>
            <pc:sldMk cId="4221783869" sldId="566"/>
            <ac:spMk id="3" creationId="{F35E8CBB-5A7D-4DEF-BAF7-8DD5D042F9E0}"/>
          </ac:spMkLst>
        </pc:spChg>
        <pc:graphicFrameChg chg="mod">
          <ac:chgData name="Sam Mesel" userId="1ee7badb-5d1f-4872-89ae-dcf7b71f276a" providerId="ADAL" clId="{7CA32505-6B2D-42E2-BE02-A2878D8E3640}" dt="2020-03-05T03:58:19.441" v="161" actId="13782"/>
          <ac:graphicFrameMkLst>
            <pc:docMk/>
            <pc:sldMk cId="4221783869" sldId="566"/>
            <ac:graphicFrameMk id="9" creationId="{C7E54BA4-B9D5-4384-9A0F-2BBF5913642C}"/>
          </ac:graphicFrameMkLst>
        </pc:graphicFrameChg>
      </pc:sldChg>
      <pc:sldChg chg="modSp mod">
        <pc:chgData name="Sam Mesel" userId="1ee7badb-5d1f-4872-89ae-dcf7b71f276a" providerId="ADAL" clId="{7CA32505-6B2D-42E2-BE02-A2878D8E3640}" dt="2020-03-17T23:23:13.268" v="2461" actId="6549"/>
        <pc:sldMkLst>
          <pc:docMk/>
          <pc:sldMk cId="2147177822" sldId="568"/>
        </pc:sldMkLst>
        <pc:spChg chg="mod">
          <ac:chgData name="Sam Mesel" userId="1ee7badb-5d1f-4872-89ae-dcf7b71f276a" providerId="ADAL" clId="{7CA32505-6B2D-42E2-BE02-A2878D8E3640}" dt="2020-03-17T23:23:13.268" v="2461" actId="6549"/>
          <ac:spMkLst>
            <pc:docMk/>
            <pc:sldMk cId="2147177822" sldId="568"/>
            <ac:spMk id="2" creationId="{BC57B38C-8413-4861-A4F5-7DF656AEAD0D}"/>
          </ac:spMkLst>
        </pc:spChg>
      </pc:sldChg>
      <pc:sldChg chg="modSp modNotesTx">
        <pc:chgData name="Sam Mesel" userId="1ee7badb-5d1f-4872-89ae-dcf7b71f276a" providerId="ADAL" clId="{7CA32505-6B2D-42E2-BE02-A2878D8E3640}" dt="2020-03-17T23:24:15.596" v="2474" actId="20577"/>
        <pc:sldMkLst>
          <pc:docMk/>
          <pc:sldMk cId="2346840044" sldId="570"/>
        </pc:sldMkLst>
        <pc:graphicFrameChg chg="mod">
          <ac:chgData name="Sam Mesel" userId="1ee7badb-5d1f-4872-89ae-dcf7b71f276a" providerId="ADAL" clId="{7CA32505-6B2D-42E2-BE02-A2878D8E3640}" dt="2020-03-17T23:24:09.556" v="2473"/>
          <ac:graphicFrameMkLst>
            <pc:docMk/>
            <pc:sldMk cId="2346840044" sldId="570"/>
            <ac:graphicFrameMk id="3" creationId="{9484E1FE-7534-495E-863C-657A46F5E628}"/>
          </ac:graphicFrameMkLst>
        </pc:graphicFrameChg>
      </pc:sldChg>
      <pc:sldChg chg="addSp delSp modSp mod">
        <pc:chgData name="Sam Mesel" userId="1ee7badb-5d1f-4872-89ae-dcf7b71f276a" providerId="ADAL" clId="{7CA32505-6B2D-42E2-BE02-A2878D8E3640}" dt="2020-03-05T22:41:59.482" v="1808" actId="20577"/>
        <pc:sldMkLst>
          <pc:docMk/>
          <pc:sldMk cId="4248838292" sldId="573"/>
        </pc:sldMkLst>
        <pc:spChg chg="del mod">
          <ac:chgData name="Sam Mesel" userId="1ee7badb-5d1f-4872-89ae-dcf7b71f276a" providerId="ADAL" clId="{7CA32505-6B2D-42E2-BE02-A2878D8E3640}" dt="2020-03-05T22:39:31.513" v="1738" actId="12084"/>
          <ac:spMkLst>
            <pc:docMk/>
            <pc:sldMk cId="4248838292" sldId="573"/>
            <ac:spMk id="4" creationId="{F3616A99-090F-45E1-9334-58D58B148205}"/>
          </ac:spMkLst>
        </pc:spChg>
        <pc:graphicFrameChg chg="add mod">
          <ac:chgData name="Sam Mesel" userId="1ee7badb-5d1f-4872-89ae-dcf7b71f276a" providerId="ADAL" clId="{7CA32505-6B2D-42E2-BE02-A2878D8E3640}" dt="2020-03-05T22:41:59.482" v="1808" actId="20577"/>
          <ac:graphicFrameMkLst>
            <pc:docMk/>
            <pc:sldMk cId="4248838292" sldId="573"/>
            <ac:graphicFrameMk id="5" creationId="{54FAC4F4-38DA-480E-819C-168F142E37A2}"/>
          </ac:graphicFrameMkLst>
        </pc:graphicFrameChg>
      </pc:sldChg>
      <pc:sldChg chg="modSp mod">
        <pc:chgData name="Sam Mesel" userId="1ee7badb-5d1f-4872-89ae-dcf7b71f276a" providerId="ADAL" clId="{7CA32505-6B2D-42E2-BE02-A2878D8E3640}" dt="2020-03-20T19:28:07.294" v="2711" actId="12"/>
        <pc:sldMkLst>
          <pc:docMk/>
          <pc:sldMk cId="3563492871" sldId="575"/>
        </pc:sldMkLst>
        <pc:spChg chg="mod">
          <ac:chgData name="Sam Mesel" userId="1ee7badb-5d1f-4872-89ae-dcf7b71f276a" providerId="ADAL" clId="{7CA32505-6B2D-42E2-BE02-A2878D8E3640}" dt="2020-03-20T19:28:04.740" v="2710" actId="108"/>
          <ac:spMkLst>
            <pc:docMk/>
            <pc:sldMk cId="3563492871" sldId="575"/>
            <ac:spMk id="2" creationId="{BC57B38C-8413-4861-A4F5-7DF656AEAD0D}"/>
          </ac:spMkLst>
        </pc:spChg>
        <pc:spChg chg="mod">
          <ac:chgData name="Sam Mesel" userId="1ee7badb-5d1f-4872-89ae-dcf7b71f276a" providerId="ADAL" clId="{7CA32505-6B2D-42E2-BE02-A2878D8E3640}" dt="2020-03-20T19:28:07.294" v="2711" actId="12"/>
          <ac:spMkLst>
            <pc:docMk/>
            <pc:sldMk cId="3563492871" sldId="575"/>
            <ac:spMk id="3" creationId="{4897B8F8-26DF-42FB-ACB0-59929F1C2344}"/>
          </ac:spMkLst>
        </pc:spChg>
      </pc:sldChg>
      <pc:sldChg chg="modSp modNotesTx">
        <pc:chgData name="Sam Mesel" userId="1ee7badb-5d1f-4872-89ae-dcf7b71f276a" providerId="ADAL" clId="{7CA32505-6B2D-42E2-BE02-A2878D8E3640}" dt="2020-03-18T17:44:28.036" v="2656" actId="20577"/>
        <pc:sldMkLst>
          <pc:docMk/>
          <pc:sldMk cId="4206133277" sldId="577"/>
        </pc:sldMkLst>
        <pc:graphicFrameChg chg="mod">
          <ac:chgData name="Sam Mesel" userId="1ee7badb-5d1f-4872-89ae-dcf7b71f276a" providerId="ADAL" clId="{7CA32505-6B2D-42E2-BE02-A2878D8E3640}" dt="2020-03-18T17:44:02.067" v="2642" actId="20577"/>
          <ac:graphicFrameMkLst>
            <pc:docMk/>
            <pc:sldMk cId="4206133277" sldId="577"/>
            <ac:graphicFrameMk id="3" creationId="{9484E1FE-7534-495E-863C-657A46F5E628}"/>
          </ac:graphicFrameMkLst>
        </pc:graphicFrameChg>
      </pc:sldChg>
      <pc:sldChg chg="modSp mod">
        <pc:chgData name="Sam Mesel" userId="1ee7badb-5d1f-4872-89ae-dcf7b71f276a" providerId="ADAL" clId="{7CA32505-6B2D-42E2-BE02-A2878D8E3640}" dt="2020-03-05T23:07:32.960" v="2082" actId="20577"/>
        <pc:sldMkLst>
          <pc:docMk/>
          <pc:sldMk cId="3424530645" sldId="579"/>
        </pc:sldMkLst>
        <pc:spChg chg="mod">
          <ac:chgData name="Sam Mesel" userId="1ee7badb-5d1f-4872-89ae-dcf7b71f276a" providerId="ADAL" clId="{7CA32505-6B2D-42E2-BE02-A2878D8E3640}" dt="2020-03-05T23:07:32.960" v="2082" actId="20577"/>
          <ac:spMkLst>
            <pc:docMk/>
            <pc:sldMk cId="3424530645" sldId="579"/>
            <ac:spMk id="5" creationId="{55182462-DFDF-4D48-A92C-42FD52821C4E}"/>
          </ac:spMkLst>
        </pc:spChg>
      </pc:sldChg>
      <pc:sldChg chg="modSp mod">
        <pc:chgData name="Sam Mesel" userId="1ee7badb-5d1f-4872-89ae-dcf7b71f276a" providerId="ADAL" clId="{7CA32505-6B2D-42E2-BE02-A2878D8E3640}" dt="2020-03-17T23:44:35.113" v="2574" actId="20577"/>
        <pc:sldMkLst>
          <pc:docMk/>
          <pc:sldMk cId="3006523152" sldId="581"/>
        </pc:sldMkLst>
        <pc:spChg chg="mod">
          <ac:chgData name="Sam Mesel" userId="1ee7badb-5d1f-4872-89ae-dcf7b71f276a" providerId="ADAL" clId="{7CA32505-6B2D-42E2-BE02-A2878D8E3640}" dt="2020-03-17T23:44:35.113" v="2574" actId="20577"/>
          <ac:spMkLst>
            <pc:docMk/>
            <pc:sldMk cId="3006523152" sldId="581"/>
            <ac:spMk id="6" creationId="{637E159C-9ACF-48AE-927A-D5FB13695C7F}"/>
          </ac:spMkLst>
        </pc:spChg>
      </pc:sldChg>
      <pc:sldChg chg="modSp mod">
        <pc:chgData name="Sam Mesel" userId="1ee7badb-5d1f-4872-89ae-dcf7b71f276a" providerId="ADAL" clId="{7CA32505-6B2D-42E2-BE02-A2878D8E3640}" dt="2020-03-20T19:27:46.006" v="2708" actId="5793"/>
        <pc:sldMkLst>
          <pc:docMk/>
          <pc:sldMk cId="1528516655" sldId="582"/>
        </pc:sldMkLst>
        <pc:spChg chg="mod">
          <ac:chgData name="Sam Mesel" userId="1ee7badb-5d1f-4872-89ae-dcf7b71f276a" providerId="ADAL" clId="{7CA32505-6B2D-42E2-BE02-A2878D8E3640}" dt="2020-03-20T19:27:12.055" v="2662" actId="108"/>
          <ac:spMkLst>
            <pc:docMk/>
            <pc:sldMk cId="1528516655" sldId="582"/>
            <ac:spMk id="2" creationId="{BC57B38C-8413-4861-A4F5-7DF656AEAD0D}"/>
          </ac:spMkLst>
        </pc:spChg>
        <pc:spChg chg="mod">
          <ac:chgData name="Sam Mesel" userId="1ee7badb-5d1f-4872-89ae-dcf7b71f276a" providerId="ADAL" clId="{7CA32505-6B2D-42E2-BE02-A2878D8E3640}" dt="2020-03-20T19:27:46.006" v="2708" actId="5793"/>
          <ac:spMkLst>
            <pc:docMk/>
            <pc:sldMk cId="1528516655" sldId="582"/>
            <ac:spMk id="3" creationId="{4897B8F8-26DF-42FB-ACB0-59929F1C2344}"/>
          </ac:spMkLst>
        </pc:spChg>
      </pc:sldChg>
      <pc:sldChg chg="modSp modNotesTx">
        <pc:chgData name="Sam Mesel" userId="1ee7badb-5d1f-4872-89ae-dcf7b71f276a" providerId="ADAL" clId="{7CA32505-6B2D-42E2-BE02-A2878D8E3640}" dt="2020-03-17T23:46:55.544" v="2616" actId="20577"/>
        <pc:sldMkLst>
          <pc:docMk/>
          <pc:sldMk cId="2444463328" sldId="584"/>
        </pc:sldMkLst>
        <pc:graphicFrameChg chg="mod">
          <ac:chgData name="Sam Mesel" userId="1ee7badb-5d1f-4872-89ae-dcf7b71f276a" providerId="ADAL" clId="{7CA32505-6B2D-42E2-BE02-A2878D8E3640}" dt="2020-03-17T23:46:29.681" v="2607"/>
          <ac:graphicFrameMkLst>
            <pc:docMk/>
            <pc:sldMk cId="2444463328" sldId="584"/>
            <ac:graphicFrameMk id="3" creationId="{9484E1FE-7534-495E-863C-657A46F5E628}"/>
          </ac:graphicFrameMkLst>
        </pc:graphicFrameChg>
      </pc:sldChg>
      <pc:sldChg chg="modSp">
        <pc:chgData name="Sam Mesel" userId="1ee7badb-5d1f-4872-89ae-dcf7b71f276a" providerId="ADAL" clId="{7CA32505-6B2D-42E2-BE02-A2878D8E3640}" dt="2020-03-17T22:47:39.580" v="2445" actId="20577"/>
        <pc:sldMkLst>
          <pc:docMk/>
          <pc:sldMk cId="2669391059" sldId="596"/>
        </pc:sldMkLst>
        <pc:graphicFrameChg chg="mod">
          <ac:chgData name="Sam Mesel" userId="1ee7badb-5d1f-4872-89ae-dcf7b71f276a" providerId="ADAL" clId="{7CA32505-6B2D-42E2-BE02-A2878D8E3640}" dt="2020-03-17T22:47:39.580" v="2445" actId="20577"/>
          <ac:graphicFrameMkLst>
            <pc:docMk/>
            <pc:sldMk cId="2669391059" sldId="596"/>
            <ac:graphicFrameMk id="4" creationId="{D437032D-66F5-4217-A6E7-5417D8E385E2}"/>
          </ac:graphicFrameMkLst>
        </pc:graphicFrameChg>
        <pc:graphicFrameChg chg="mod">
          <ac:chgData name="Sam Mesel" userId="1ee7badb-5d1f-4872-89ae-dcf7b71f276a" providerId="ADAL" clId="{7CA32505-6B2D-42E2-BE02-A2878D8E3640}" dt="2020-03-05T21:20:24.160" v="455" actId="207"/>
          <ac:graphicFrameMkLst>
            <pc:docMk/>
            <pc:sldMk cId="2669391059" sldId="596"/>
            <ac:graphicFrameMk id="5" creationId="{6038F7FE-1DA1-4DBB-B788-2C7EB166AC5C}"/>
          </ac:graphicFrameMkLst>
        </pc:graphicFrameChg>
      </pc:sldChg>
      <pc:sldChg chg="modSp mod">
        <pc:chgData name="Sam Mesel" userId="1ee7badb-5d1f-4872-89ae-dcf7b71f276a" providerId="ADAL" clId="{7CA32505-6B2D-42E2-BE02-A2878D8E3640}" dt="2020-03-05T03:45:32.781" v="60" actId="1076"/>
        <pc:sldMkLst>
          <pc:docMk/>
          <pc:sldMk cId="3243458079" sldId="597"/>
        </pc:sldMkLst>
        <pc:spChg chg="mod">
          <ac:chgData name="Sam Mesel" userId="1ee7badb-5d1f-4872-89ae-dcf7b71f276a" providerId="ADAL" clId="{7CA32505-6B2D-42E2-BE02-A2878D8E3640}" dt="2020-03-05T03:45:32.781" v="60" actId="1076"/>
          <ac:spMkLst>
            <pc:docMk/>
            <pc:sldMk cId="3243458079" sldId="597"/>
            <ac:spMk id="24" creationId="{9FE1ABB5-5BE8-46DC-A11F-B8F964372A17}"/>
          </ac:spMkLst>
        </pc:spChg>
        <pc:cxnChg chg="mod">
          <ac:chgData name="Sam Mesel" userId="1ee7badb-5d1f-4872-89ae-dcf7b71f276a" providerId="ADAL" clId="{7CA32505-6B2D-42E2-BE02-A2878D8E3640}" dt="2020-03-05T03:45:25.277" v="58" actId="14100"/>
          <ac:cxnSpMkLst>
            <pc:docMk/>
            <pc:sldMk cId="3243458079" sldId="597"/>
            <ac:cxnSpMk id="20" creationId="{6109B004-4C23-4FAC-99F1-A21401BF2691}"/>
          </ac:cxnSpMkLst>
        </pc:cxnChg>
      </pc:sldChg>
      <pc:sldChg chg="modSp mod">
        <pc:chgData name="Sam Mesel" userId="1ee7badb-5d1f-4872-89ae-dcf7b71f276a" providerId="ADAL" clId="{7CA32505-6B2D-42E2-BE02-A2878D8E3640}" dt="2020-03-17T22:44:02.736" v="2444" actId="6549"/>
        <pc:sldMkLst>
          <pc:docMk/>
          <pc:sldMk cId="1097784745" sldId="598"/>
        </pc:sldMkLst>
        <pc:spChg chg="mod">
          <ac:chgData name="Sam Mesel" userId="1ee7badb-5d1f-4872-89ae-dcf7b71f276a" providerId="ADAL" clId="{7CA32505-6B2D-42E2-BE02-A2878D8E3640}" dt="2020-03-17T22:44:02.736" v="2444" actId="6549"/>
          <ac:spMkLst>
            <pc:docMk/>
            <pc:sldMk cId="1097784745" sldId="598"/>
            <ac:spMk id="4" creationId="{F3616A99-090F-45E1-9334-58D58B148205}"/>
          </ac:spMkLst>
        </pc:spChg>
        <pc:graphicFrameChg chg="mod">
          <ac:chgData name="Sam Mesel" userId="1ee7badb-5d1f-4872-89ae-dcf7b71f276a" providerId="ADAL" clId="{7CA32505-6B2D-42E2-BE02-A2878D8E3640}" dt="2020-03-05T21:14:35.835" v="374" actId="1076"/>
          <ac:graphicFrameMkLst>
            <pc:docMk/>
            <pc:sldMk cId="1097784745" sldId="598"/>
            <ac:graphicFrameMk id="10" creationId="{FCEC238A-94EC-4139-86D0-C4CF104F2FA0}"/>
          </ac:graphicFrameMkLst>
        </pc:graphicFrameChg>
      </pc:sldChg>
      <pc:sldChg chg="modSp mod">
        <pc:chgData name="Sam Mesel" userId="1ee7badb-5d1f-4872-89ae-dcf7b71f276a" providerId="ADAL" clId="{7CA32505-6B2D-42E2-BE02-A2878D8E3640}" dt="2020-03-05T21:24:14.108" v="469" actId="33524"/>
        <pc:sldMkLst>
          <pc:docMk/>
          <pc:sldMk cId="200290157" sldId="599"/>
        </pc:sldMkLst>
        <pc:spChg chg="mod">
          <ac:chgData name="Sam Mesel" userId="1ee7badb-5d1f-4872-89ae-dcf7b71f276a" providerId="ADAL" clId="{7CA32505-6B2D-42E2-BE02-A2878D8E3640}" dt="2020-03-05T21:24:14.108" v="469" actId="33524"/>
          <ac:spMkLst>
            <pc:docMk/>
            <pc:sldMk cId="200290157" sldId="599"/>
            <ac:spMk id="4" creationId="{F3616A99-090F-45E1-9334-58D58B148205}"/>
          </ac:spMkLst>
        </pc:spChg>
      </pc:sldChg>
      <pc:sldChg chg="modSp mod modAnim">
        <pc:chgData name="Sam Mesel" userId="1ee7badb-5d1f-4872-89ae-dcf7b71f276a" providerId="ADAL" clId="{7CA32505-6B2D-42E2-BE02-A2878D8E3640}" dt="2020-03-05T21:36:56.794" v="507" actId="20577"/>
        <pc:sldMkLst>
          <pc:docMk/>
          <pc:sldMk cId="994038105" sldId="600"/>
        </pc:sldMkLst>
        <pc:spChg chg="mod">
          <ac:chgData name="Sam Mesel" userId="1ee7badb-5d1f-4872-89ae-dcf7b71f276a" providerId="ADAL" clId="{7CA32505-6B2D-42E2-BE02-A2878D8E3640}" dt="2020-03-05T21:36:56.794" v="507" actId="20577"/>
          <ac:spMkLst>
            <pc:docMk/>
            <pc:sldMk cId="994038105" sldId="600"/>
            <ac:spMk id="27" creationId="{0EBCC322-8D94-4879-88A3-1EACCEE4E88A}"/>
          </ac:spMkLst>
        </pc:spChg>
        <pc:spChg chg="mod">
          <ac:chgData name="Sam Mesel" userId="1ee7badb-5d1f-4872-89ae-dcf7b71f276a" providerId="ADAL" clId="{7CA32505-6B2D-42E2-BE02-A2878D8E3640}" dt="2020-03-05T21:36:04.200" v="479" actId="6549"/>
          <ac:spMkLst>
            <pc:docMk/>
            <pc:sldMk cId="994038105" sldId="600"/>
            <ac:spMk id="28" creationId="{EE914440-D6FA-4328-8B96-B3F9D0E47EE0}"/>
          </ac:spMkLst>
        </pc:spChg>
      </pc:sldChg>
      <pc:sldChg chg="addSp delSp modSp mod">
        <pc:chgData name="Sam Mesel" userId="1ee7badb-5d1f-4872-89ae-dcf7b71f276a" providerId="ADAL" clId="{7CA32505-6B2D-42E2-BE02-A2878D8E3640}" dt="2020-03-05T21:49:32.653" v="1118" actId="20577"/>
        <pc:sldMkLst>
          <pc:docMk/>
          <pc:sldMk cId="3121385187" sldId="601"/>
        </pc:sldMkLst>
        <pc:spChg chg="del mod">
          <ac:chgData name="Sam Mesel" userId="1ee7badb-5d1f-4872-89ae-dcf7b71f276a" providerId="ADAL" clId="{7CA32505-6B2D-42E2-BE02-A2878D8E3640}" dt="2020-03-05T21:44:08.906" v="765" actId="12084"/>
          <ac:spMkLst>
            <pc:docMk/>
            <pc:sldMk cId="3121385187" sldId="601"/>
            <ac:spMk id="5" creationId="{24C1A325-6F43-4F8B-AC97-1072BF0A84B4}"/>
          </ac:spMkLst>
        </pc:spChg>
        <pc:graphicFrameChg chg="add mod">
          <ac:chgData name="Sam Mesel" userId="1ee7badb-5d1f-4872-89ae-dcf7b71f276a" providerId="ADAL" clId="{7CA32505-6B2D-42E2-BE02-A2878D8E3640}" dt="2020-03-05T21:49:32.653" v="1118" actId="20577"/>
          <ac:graphicFrameMkLst>
            <pc:docMk/>
            <pc:sldMk cId="3121385187" sldId="601"/>
            <ac:graphicFrameMk id="4" creationId="{0A0551B6-9EC1-42BC-B15E-507686A09312}"/>
          </ac:graphicFrameMkLst>
        </pc:graphicFrameChg>
      </pc:sldChg>
      <pc:sldChg chg="modSp del">
        <pc:chgData name="Sam Mesel" userId="1ee7badb-5d1f-4872-89ae-dcf7b71f276a" providerId="ADAL" clId="{7CA32505-6B2D-42E2-BE02-A2878D8E3640}" dt="2020-03-19T22:30:25.538" v="2659" actId="47"/>
        <pc:sldMkLst>
          <pc:docMk/>
          <pc:sldMk cId="2420422319" sldId="602"/>
        </pc:sldMkLst>
        <pc:graphicFrameChg chg="mod">
          <ac:chgData name="Sam Mesel" userId="1ee7badb-5d1f-4872-89ae-dcf7b71f276a" providerId="ADAL" clId="{7CA32505-6B2D-42E2-BE02-A2878D8E3640}" dt="2020-03-05T03:46:51.291" v="61" actId="13782"/>
          <ac:graphicFrameMkLst>
            <pc:docMk/>
            <pc:sldMk cId="2420422319" sldId="602"/>
            <ac:graphicFrameMk id="10" creationId="{E187638D-2B21-4A36-A70A-F5A0FAE62B1C}"/>
          </ac:graphicFrameMkLst>
        </pc:graphicFrameChg>
      </pc:sldChg>
      <pc:sldChg chg="modSp">
        <pc:chgData name="Sam Mesel" userId="1ee7badb-5d1f-4872-89ae-dcf7b71f276a" providerId="ADAL" clId="{7CA32505-6B2D-42E2-BE02-A2878D8E3640}" dt="2020-03-05T02:28:52.048" v="31"/>
        <pc:sldMkLst>
          <pc:docMk/>
          <pc:sldMk cId="2735926192" sldId="604"/>
        </pc:sldMkLst>
        <pc:spChg chg="mod">
          <ac:chgData name="Sam Mesel" userId="1ee7badb-5d1f-4872-89ae-dcf7b71f276a" providerId="ADAL" clId="{7CA32505-6B2D-42E2-BE02-A2878D8E3640}" dt="2020-03-05T02:28:52.048" v="31"/>
          <ac:spMkLst>
            <pc:docMk/>
            <pc:sldMk cId="2735926192" sldId="604"/>
            <ac:spMk id="20" creationId="{C321B790-A42B-4615-8886-FB1C9171170D}"/>
          </ac:spMkLst>
        </pc:spChg>
      </pc:sldChg>
      <pc:sldChg chg="modSp mod">
        <pc:chgData name="Sam Mesel" userId="1ee7badb-5d1f-4872-89ae-dcf7b71f276a" providerId="ADAL" clId="{7CA32505-6B2D-42E2-BE02-A2878D8E3640}" dt="2020-03-17T23:27:20.211" v="2531" actId="14100"/>
        <pc:sldMkLst>
          <pc:docMk/>
          <pc:sldMk cId="110240023" sldId="607"/>
        </pc:sldMkLst>
        <pc:spChg chg="mod">
          <ac:chgData name="Sam Mesel" userId="1ee7badb-5d1f-4872-89ae-dcf7b71f276a" providerId="ADAL" clId="{7CA32505-6B2D-42E2-BE02-A2878D8E3640}" dt="2020-03-17T23:27:20.211" v="2531" actId="14100"/>
          <ac:spMkLst>
            <pc:docMk/>
            <pc:sldMk cId="110240023" sldId="607"/>
            <ac:spMk id="8" creationId="{05ADF702-00A6-423F-9E00-50860C2E98AC}"/>
          </ac:spMkLst>
        </pc:spChg>
      </pc:sldChg>
      <pc:sldChg chg="addSp delSp modSp mod">
        <pc:chgData name="Sam Mesel" userId="1ee7badb-5d1f-4872-89ae-dcf7b71f276a" providerId="ADAL" clId="{7CA32505-6B2D-42E2-BE02-A2878D8E3640}" dt="2020-03-17T23:29:50.802" v="2532" actId="6549"/>
        <pc:sldMkLst>
          <pc:docMk/>
          <pc:sldMk cId="3804096970" sldId="615"/>
        </pc:sldMkLst>
        <pc:spChg chg="mod">
          <ac:chgData name="Sam Mesel" userId="1ee7badb-5d1f-4872-89ae-dcf7b71f276a" providerId="ADAL" clId="{7CA32505-6B2D-42E2-BE02-A2878D8E3640}" dt="2020-03-17T23:29:50.802" v="2532" actId="6549"/>
          <ac:spMkLst>
            <pc:docMk/>
            <pc:sldMk cId="3804096970" sldId="615"/>
            <ac:spMk id="3" creationId="{F35E8CBB-5A7D-4DEF-BAF7-8DD5D042F9E0}"/>
          </ac:spMkLst>
        </pc:spChg>
        <pc:spChg chg="del mod">
          <ac:chgData name="Sam Mesel" userId="1ee7badb-5d1f-4872-89ae-dcf7b71f276a" providerId="ADAL" clId="{7CA32505-6B2D-42E2-BE02-A2878D8E3640}" dt="2020-03-05T23:01:07.094" v="2054" actId="12084"/>
          <ac:spMkLst>
            <pc:docMk/>
            <pc:sldMk cId="3804096970" sldId="615"/>
            <ac:spMk id="4" creationId="{F3616A99-090F-45E1-9334-58D58B148205}"/>
          </ac:spMkLst>
        </pc:spChg>
        <pc:graphicFrameChg chg="add mod">
          <ac:chgData name="Sam Mesel" userId="1ee7badb-5d1f-4872-89ae-dcf7b71f276a" providerId="ADAL" clId="{7CA32505-6B2D-42E2-BE02-A2878D8E3640}" dt="2020-03-05T23:02:00.692" v="2070" actId="20577"/>
          <ac:graphicFrameMkLst>
            <pc:docMk/>
            <pc:sldMk cId="3804096970" sldId="615"/>
            <ac:graphicFrameMk id="5" creationId="{8218AF4A-403D-4A67-87BC-BF0DD8FEB0D5}"/>
          </ac:graphicFrameMkLst>
        </pc:graphicFrameChg>
      </pc:sldChg>
      <pc:sldChg chg="addSp delSp modSp mod">
        <pc:chgData name="Sam Mesel" userId="1ee7badb-5d1f-4872-89ae-dcf7b71f276a" providerId="ADAL" clId="{7CA32505-6B2D-42E2-BE02-A2878D8E3640}" dt="2020-03-05T21:57:58.179" v="1249" actId="20577"/>
        <pc:sldMkLst>
          <pc:docMk/>
          <pc:sldMk cId="3894491069" sldId="617"/>
        </pc:sldMkLst>
        <pc:spChg chg="del mod">
          <ac:chgData name="Sam Mesel" userId="1ee7badb-5d1f-4872-89ae-dcf7b71f276a" providerId="ADAL" clId="{7CA32505-6B2D-42E2-BE02-A2878D8E3640}" dt="2020-03-05T21:57:05.837" v="1189" actId="12084"/>
          <ac:spMkLst>
            <pc:docMk/>
            <pc:sldMk cId="3894491069" sldId="617"/>
            <ac:spMk id="24" creationId="{DE034EBD-3180-49C9-A72B-7FFAE4FCF0FA}"/>
          </ac:spMkLst>
        </pc:spChg>
        <pc:graphicFrameChg chg="add mod">
          <ac:chgData name="Sam Mesel" userId="1ee7badb-5d1f-4872-89ae-dcf7b71f276a" providerId="ADAL" clId="{7CA32505-6B2D-42E2-BE02-A2878D8E3640}" dt="2020-03-05T21:57:58.179" v="1249" actId="20577"/>
          <ac:graphicFrameMkLst>
            <pc:docMk/>
            <pc:sldMk cId="3894491069" sldId="617"/>
            <ac:graphicFrameMk id="4" creationId="{44ECF381-5A85-4152-A4A2-40DE21A6CB04}"/>
          </ac:graphicFrameMkLst>
        </pc:graphicFrameChg>
      </pc:sldChg>
      <pc:sldChg chg="addSp delSp modSp mod modAnim">
        <pc:chgData name="Sam Mesel" userId="1ee7badb-5d1f-4872-89ae-dcf7b71f276a" providerId="ADAL" clId="{7CA32505-6B2D-42E2-BE02-A2878D8E3640}" dt="2020-03-05T22:11:25.895" v="1386"/>
        <pc:sldMkLst>
          <pc:docMk/>
          <pc:sldMk cId="508126509" sldId="618"/>
        </pc:sldMkLst>
        <pc:spChg chg="add mod">
          <ac:chgData name="Sam Mesel" userId="1ee7badb-5d1f-4872-89ae-dcf7b71f276a" providerId="ADAL" clId="{7CA32505-6B2D-42E2-BE02-A2878D8E3640}" dt="2020-03-05T21:59:30.059" v="1261" actId="1076"/>
          <ac:spMkLst>
            <pc:docMk/>
            <pc:sldMk cId="508126509" sldId="618"/>
            <ac:spMk id="3" creationId="{03CE7E76-6007-458B-BC6E-FB49FBAE526B}"/>
          </ac:spMkLst>
        </pc:spChg>
        <pc:spChg chg="del mod">
          <ac:chgData name="Sam Mesel" userId="1ee7badb-5d1f-4872-89ae-dcf7b71f276a" providerId="ADAL" clId="{7CA32505-6B2D-42E2-BE02-A2878D8E3640}" dt="2020-03-05T03:52:22.355" v="74" actId="12084"/>
          <ac:spMkLst>
            <pc:docMk/>
            <pc:sldMk cId="508126509" sldId="618"/>
            <ac:spMk id="5" creationId="{35622013-AD39-49E7-86B3-948ECEC8BF96}"/>
          </ac:spMkLst>
        </pc:spChg>
        <pc:spChg chg="mod">
          <ac:chgData name="Sam Mesel" userId="1ee7badb-5d1f-4872-89ae-dcf7b71f276a" providerId="ADAL" clId="{7CA32505-6B2D-42E2-BE02-A2878D8E3640}" dt="2020-03-05T22:03:44.736" v="1314" actId="1037"/>
          <ac:spMkLst>
            <pc:docMk/>
            <pc:sldMk cId="508126509" sldId="618"/>
            <ac:spMk id="45" creationId="{713C2539-6321-4B50-B6DF-7905494F52A8}"/>
          </ac:spMkLst>
        </pc:spChg>
        <pc:spChg chg="mod">
          <ac:chgData name="Sam Mesel" userId="1ee7badb-5d1f-4872-89ae-dcf7b71f276a" providerId="ADAL" clId="{7CA32505-6B2D-42E2-BE02-A2878D8E3640}" dt="2020-03-05T03:57:12.237" v="157" actId="1076"/>
          <ac:spMkLst>
            <pc:docMk/>
            <pc:sldMk cId="508126509" sldId="618"/>
            <ac:spMk id="49" creationId="{BE91BDAD-9E00-46E3-81D6-547C19D238C5}"/>
          </ac:spMkLst>
        </pc:spChg>
        <pc:spChg chg="mod">
          <ac:chgData name="Sam Mesel" userId="1ee7badb-5d1f-4872-89ae-dcf7b71f276a" providerId="ADAL" clId="{7CA32505-6B2D-42E2-BE02-A2878D8E3640}" dt="2020-03-05T22:04:19.269" v="1318" actId="1076"/>
          <ac:spMkLst>
            <pc:docMk/>
            <pc:sldMk cId="508126509" sldId="618"/>
            <ac:spMk id="50" creationId="{960B5702-E38C-4C67-91F9-CB62DE0CE17A}"/>
          </ac:spMkLst>
        </pc:spChg>
        <pc:spChg chg="mod">
          <ac:chgData name="Sam Mesel" userId="1ee7badb-5d1f-4872-89ae-dcf7b71f276a" providerId="ADAL" clId="{7CA32505-6B2D-42E2-BE02-A2878D8E3640}" dt="2020-03-05T22:08:31.199" v="1349" actId="1076"/>
          <ac:spMkLst>
            <pc:docMk/>
            <pc:sldMk cId="508126509" sldId="618"/>
            <ac:spMk id="51" creationId="{844FF21F-9290-4A02-B225-5D06B1706572}"/>
          </ac:spMkLst>
        </pc:spChg>
        <pc:spChg chg="mod">
          <ac:chgData name="Sam Mesel" userId="1ee7badb-5d1f-4872-89ae-dcf7b71f276a" providerId="ADAL" clId="{7CA32505-6B2D-42E2-BE02-A2878D8E3640}" dt="2020-03-05T22:04:12.751" v="1317" actId="1076"/>
          <ac:spMkLst>
            <pc:docMk/>
            <pc:sldMk cId="508126509" sldId="618"/>
            <ac:spMk id="52" creationId="{43F1A2B2-1BCC-4944-99E9-01F2244FDF91}"/>
          </ac:spMkLst>
        </pc:spChg>
        <pc:spChg chg="mod">
          <ac:chgData name="Sam Mesel" userId="1ee7badb-5d1f-4872-89ae-dcf7b71f276a" providerId="ADAL" clId="{7CA32505-6B2D-42E2-BE02-A2878D8E3640}" dt="2020-03-05T22:05:27.054" v="1332" actId="1076"/>
          <ac:spMkLst>
            <pc:docMk/>
            <pc:sldMk cId="508126509" sldId="618"/>
            <ac:spMk id="53" creationId="{3403C397-13DE-4B9D-BE89-13492AF2100A}"/>
          </ac:spMkLst>
        </pc:spChg>
        <pc:spChg chg="mod">
          <ac:chgData name="Sam Mesel" userId="1ee7badb-5d1f-4872-89ae-dcf7b71f276a" providerId="ADAL" clId="{7CA32505-6B2D-42E2-BE02-A2878D8E3640}" dt="2020-03-05T22:01:04.439" v="1280" actId="1076"/>
          <ac:spMkLst>
            <pc:docMk/>
            <pc:sldMk cId="508126509" sldId="618"/>
            <ac:spMk id="54" creationId="{4E009345-05D5-47BA-8C16-8F2D9144DAAE}"/>
          </ac:spMkLst>
        </pc:spChg>
        <pc:spChg chg="mod">
          <ac:chgData name="Sam Mesel" userId="1ee7badb-5d1f-4872-89ae-dcf7b71f276a" providerId="ADAL" clId="{7CA32505-6B2D-42E2-BE02-A2878D8E3640}" dt="2020-03-05T22:04:52.572" v="1328" actId="1037"/>
          <ac:spMkLst>
            <pc:docMk/>
            <pc:sldMk cId="508126509" sldId="618"/>
            <ac:spMk id="55" creationId="{7A1C08B5-8F85-46B6-9F38-0D8F93C65596}"/>
          </ac:spMkLst>
        </pc:spChg>
        <pc:spChg chg="mod">
          <ac:chgData name="Sam Mesel" userId="1ee7badb-5d1f-4872-89ae-dcf7b71f276a" providerId="ADAL" clId="{7CA32505-6B2D-42E2-BE02-A2878D8E3640}" dt="2020-03-05T22:05:50.269" v="1336" actId="1076"/>
          <ac:spMkLst>
            <pc:docMk/>
            <pc:sldMk cId="508126509" sldId="618"/>
            <ac:spMk id="57" creationId="{1BEBD550-8228-458D-8D48-A68DF2E2C6E2}"/>
          </ac:spMkLst>
        </pc:spChg>
        <pc:spChg chg="mod">
          <ac:chgData name="Sam Mesel" userId="1ee7badb-5d1f-4872-89ae-dcf7b71f276a" providerId="ADAL" clId="{7CA32505-6B2D-42E2-BE02-A2878D8E3640}" dt="2020-03-05T22:04:52.572" v="1328" actId="1037"/>
          <ac:spMkLst>
            <pc:docMk/>
            <pc:sldMk cId="508126509" sldId="618"/>
            <ac:spMk id="58" creationId="{265477B7-89C5-4BD8-AB9C-AB555B57D6D7}"/>
          </ac:spMkLst>
        </pc:spChg>
        <pc:spChg chg="mod">
          <ac:chgData name="Sam Mesel" userId="1ee7badb-5d1f-4872-89ae-dcf7b71f276a" providerId="ADAL" clId="{7CA32505-6B2D-42E2-BE02-A2878D8E3640}" dt="2020-03-05T22:05:45.200" v="1335" actId="1076"/>
          <ac:spMkLst>
            <pc:docMk/>
            <pc:sldMk cId="508126509" sldId="618"/>
            <ac:spMk id="60" creationId="{9B6A7B81-CD87-47D1-9723-F5106ADE7681}"/>
          </ac:spMkLst>
        </pc:spChg>
        <pc:spChg chg="mod">
          <ac:chgData name="Sam Mesel" userId="1ee7badb-5d1f-4872-89ae-dcf7b71f276a" providerId="ADAL" clId="{7CA32505-6B2D-42E2-BE02-A2878D8E3640}" dt="2020-03-05T22:04:52.572" v="1328" actId="1037"/>
          <ac:spMkLst>
            <pc:docMk/>
            <pc:sldMk cId="508126509" sldId="618"/>
            <ac:spMk id="61" creationId="{4774679D-07B2-4D75-BADC-7D551AF04247}"/>
          </ac:spMkLst>
        </pc:spChg>
        <pc:spChg chg="mod">
          <ac:chgData name="Sam Mesel" userId="1ee7badb-5d1f-4872-89ae-dcf7b71f276a" providerId="ADAL" clId="{7CA32505-6B2D-42E2-BE02-A2878D8E3640}" dt="2020-03-05T22:05:38.877" v="1334" actId="1076"/>
          <ac:spMkLst>
            <pc:docMk/>
            <pc:sldMk cId="508126509" sldId="618"/>
            <ac:spMk id="63" creationId="{E733ADE8-00C8-4F4A-97C6-584F2E02292A}"/>
          </ac:spMkLst>
        </pc:spChg>
        <pc:spChg chg="mod">
          <ac:chgData name="Sam Mesel" userId="1ee7badb-5d1f-4872-89ae-dcf7b71f276a" providerId="ADAL" clId="{7CA32505-6B2D-42E2-BE02-A2878D8E3640}" dt="2020-03-05T22:04:52.572" v="1328" actId="1037"/>
          <ac:spMkLst>
            <pc:docMk/>
            <pc:sldMk cId="508126509" sldId="618"/>
            <ac:spMk id="64" creationId="{9BCB9B6A-EDFC-4144-9589-6534D2675055}"/>
          </ac:spMkLst>
        </pc:spChg>
        <pc:spChg chg="mod">
          <ac:chgData name="Sam Mesel" userId="1ee7badb-5d1f-4872-89ae-dcf7b71f276a" providerId="ADAL" clId="{7CA32505-6B2D-42E2-BE02-A2878D8E3640}" dt="2020-03-05T22:05:35.047" v="1333" actId="1076"/>
          <ac:spMkLst>
            <pc:docMk/>
            <pc:sldMk cId="508126509" sldId="618"/>
            <ac:spMk id="66" creationId="{B99775AE-9318-4C07-B75D-8142D0524C45}"/>
          </ac:spMkLst>
        </pc:spChg>
        <pc:grpChg chg="mod topLvl">
          <ac:chgData name="Sam Mesel" userId="1ee7badb-5d1f-4872-89ae-dcf7b71f276a" providerId="ADAL" clId="{7CA32505-6B2D-42E2-BE02-A2878D8E3640}" dt="2020-03-05T22:06:20.184" v="1337" actId="165"/>
          <ac:grpSpMkLst>
            <pc:docMk/>
            <pc:sldMk cId="508126509" sldId="618"/>
            <ac:grpSpMk id="70" creationId="{60B68641-40BF-42BE-BE09-BE510B978997}"/>
          </ac:grpSpMkLst>
        </pc:grpChg>
        <pc:grpChg chg="mod topLvl">
          <ac:chgData name="Sam Mesel" userId="1ee7badb-5d1f-4872-89ae-dcf7b71f276a" providerId="ADAL" clId="{7CA32505-6B2D-42E2-BE02-A2878D8E3640}" dt="2020-03-05T22:06:20.184" v="1337" actId="165"/>
          <ac:grpSpMkLst>
            <pc:docMk/>
            <pc:sldMk cId="508126509" sldId="618"/>
            <ac:grpSpMk id="71" creationId="{BAD4FF2D-3DF1-45F9-9F9A-37360A932964}"/>
          </ac:grpSpMkLst>
        </pc:grpChg>
        <pc:grpChg chg="mod topLvl">
          <ac:chgData name="Sam Mesel" userId="1ee7badb-5d1f-4872-89ae-dcf7b71f276a" providerId="ADAL" clId="{7CA32505-6B2D-42E2-BE02-A2878D8E3640}" dt="2020-03-05T22:06:20.184" v="1337" actId="165"/>
          <ac:grpSpMkLst>
            <pc:docMk/>
            <pc:sldMk cId="508126509" sldId="618"/>
            <ac:grpSpMk id="72" creationId="{3AC898B8-89C4-4B77-B382-C0B0CC436AF2}"/>
          </ac:grpSpMkLst>
        </pc:grpChg>
        <pc:grpChg chg="mod topLvl">
          <ac:chgData name="Sam Mesel" userId="1ee7badb-5d1f-4872-89ae-dcf7b71f276a" providerId="ADAL" clId="{7CA32505-6B2D-42E2-BE02-A2878D8E3640}" dt="2020-03-05T22:06:20.184" v="1337" actId="165"/>
          <ac:grpSpMkLst>
            <pc:docMk/>
            <pc:sldMk cId="508126509" sldId="618"/>
            <ac:grpSpMk id="73" creationId="{997983ED-F273-4B12-8BD9-D94635F57F61}"/>
          </ac:grpSpMkLst>
        </pc:grpChg>
        <pc:grpChg chg="mod topLvl">
          <ac:chgData name="Sam Mesel" userId="1ee7badb-5d1f-4872-89ae-dcf7b71f276a" providerId="ADAL" clId="{7CA32505-6B2D-42E2-BE02-A2878D8E3640}" dt="2020-03-05T22:06:20.184" v="1337" actId="165"/>
          <ac:grpSpMkLst>
            <pc:docMk/>
            <pc:sldMk cId="508126509" sldId="618"/>
            <ac:grpSpMk id="74" creationId="{69DF7063-04A2-4E40-B7B7-9297BF8B3542}"/>
          </ac:grpSpMkLst>
        </pc:grpChg>
        <pc:grpChg chg="del mod">
          <ac:chgData name="Sam Mesel" userId="1ee7badb-5d1f-4872-89ae-dcf7b71f276a" providerId="ADAL" clId="{7CA32505-6B2D-42E2-BE02-A2878D8E3640}" dt="2020-03-05T22:06:20.184" v="1337" actId="165"/>
          <ac:grpSpMkLst>
            <pc:docMk/>
            <pc:sldMk cId="508126509" sldId="618"/>
            <ac:grpSpMk id="75" creationId="{2E46A7FA-819E-4EDF-918B-CCA0CD78F49E}"/>
          </ac:grpSpMkLst>
        </pc:grpChg>
        <pc:graphicFrameChg chg="add mod">
          <ac:chgData name="Sam Mesel" userId="1ee7badb-5d1f-4872-89ae-dcf7b71f276a" providerId="ADAL" clId="{7CA32505-6B2D-42E2-BE02-A2878D8E3640}" dt="2020-03-05T22:03:06.015" v="1303" actId="14100"/>
          <ac:graphicFrameMkLst>
            <pc:docMk/>
            <pc:sldMk cId="508126509" sldId="618"/>
            <ac:graphicFrameMk id="2" creationId="{69309ACB-1DFC-421B-8DFA-80763FE75468}"/>
          </ac:graphicFrameMkLst>
        </pc:graphicFrameChg>
        <pc:cxnChg chg="mod topLvl">
          <ac:chgData name="Sam Mesel" userId="1ee7badb-5d1f-4872-89ae-dcf7b71f276a" providerId="ADAL" clId="{7CA32505-6B2D-42E2-BE02-A2878D8E3640}" dt="2020-03-05T22:06:20.184" v="1337" actId="165"/>
          <ac:cxnSpMkLst>
            <pc:docMk/>
            <pc:sldMk cId="508126509" sldId="618"/>
            <ac:cxnSpMk id="43" creationId="{070D6CE5-4F9E-44BC-A783-DFBBF89D3934}"/>
          </ac:cxnSpMkLst>
        </pc:cxnChg>
        <pc:cxnChg chg="mod topLvl">
          <ac:chgData name="Sam Mesel" userId="1ee7badb-5d1f-4872-89ae-dcf7b71f276a" providerId="ADAL" clId="{7CA32505-6B2D-42E2-BE02-A2878D8E3640}" dt="2020-03-05T22:06:20.184" v="1337" actId="165"/>
          <ac:cxnSpMkLst>
            <pc:docMk/>
            <pc:sldMk cId="508126509" sldId="618"/>
            <ac:cxnSpMk id="44" creationId="{213134DF-3638-47D1-8CEC-0196AC8C346E}"/>
          </ac:cxnSpMkLst>
        </pc:cxnChg>
        <pc:cxnChg chg="mod topLvl">
          <ac:chgData name="Sam Mesel" userId="1ee7badb-5d1f-4872-89ae-dcf7b71f276a" providerId="ADAL" clId="{7CA32505-6B2D-42E2-BE02-A2878D8E3640}" dt="2020-03-05T22:06:20.184" v="1337" actId="165"/>
          <ac:cxnSpMkLst>
            <pc:docMk/>
            <pc:sldMk cId="508126509" sldId="618"/>
            <ac:cxnSpMk id="46" creationId="{54547778-B203-4895-A55B-45AE5AF61174}"/>
          </ac:cxnSpMkLst>
        </pc:cxnChg>
        <pc:cxnChg chg="mod topLvl">
          <ac:chgData name="Sam Mesel" userId="1ee7badb-5d1f-4872-89ae-dcf7b71f276a" providerId="ADAL" clId="{7CA32505-6B2D-42E2-BE02-A2878D8E3640}" dt="2020-03-05T22:06:20.184" v="1337" actId="165"/>
          <ac:cxnSpMkLst>
            <pc:docMk/>
            <pc:sldMk cId="508126509" sldId="618"/>
            <ac:cxnSpMk id="47" creationId="{23951D6D-28E7-4942-BEB1-95CB920EBD65}"/>
          </ac:cxnSpMkLst>
        </pc:cxnChg>
      </pc:sldChg>
      <pc:sldChg chg="addSp delSp modSp mod">
        <pc:chgData name="Sam Mesel" userId="1ee7badb-5d1f-4872-89ae-dcf7b71f276a" providerId="ADAL" clId="{7CA32505-6B2D-42E2-BE02-A2878D8E3640}" dt="2020-03-17T23:22:10.799" v="2457" actId="20577"/>
        <pc:sldMkLst>
          <pc:docMk/>
          <pc:sldMk cId="4286818092" sldId="620"/>
        </pc:sldMkLst>
        <pc:spChg chg="del mod">
          <ac:chgData name="Sam Mesel" userId="1ee7badb-5d1f-4872-89ae-dcf7b71f276a" providerId="ADAL" clId="{7CA32505-6B2D-42E2-BE02-A2878D8E3640}" dt="2020-03-05T22:27:02.010" v="1584" actId="12084"/>
          <ac:spMkLst>
            <pc:docMk/>
            <pc:sldMk cId="4286818092" sldId="620"/>
            <ac:spMk id="24" creationId="{DE034EBD-3180-49C9-A72B-7FFAE4FCF0FA}"/>
          </ac:spMkLst>
        </pc:spChg>
        <pc:graphicFrameChg chg="add mod">
          <ac:chgData name="Sam Mesel" userId="1ee7badb-5d1f-4872-89ae-dcf7b71f276a" providerId="ADAL" clId="{7CA32505-6B2D-42E2-BE02-A2878D8E3640}" dt="2020-03-17T23:22:10.799" v="2457" actId="20577"/>
          <ac:graphicFrameMkLst>
            <pc:docMk/>
            <pc:sldMk cId="4286818092" sldId="620"/>
            <ac:graphicFrameMk id="4" creationId="{A5CB17EB-D61B-46D3-8502-A0E25AA528E4}"/>
          </ac:graphicFrameMkLst>
        </pc:graphicFrameChg>
      </pc:sldChg>
      <pc:sldChg chg="modSp mod">
        <pc:chgData name="Sam Mesel" userId="1ee7badb-5d1f-4872-89ae-dcf7b71f276a" providerId="ADAL" clId="{7CA32505-6B2D-42E2-BE02-A2878D8E3640}" dt="2020-03-05T22:46:38.748" v="1842" actId="20577"/>
        <pc:sldMkLst>
          <pc:docMk/>
          <pc:sldMk cId="1030677442" sldId="621"/>
        </pc:sldMkLst>
        <pc:spChg chg="mod">
          <ac:chgData name="Sam Mesel" userId="1ee7badb-5d1f-4872-89ae-dcf7b71f276a" providerId="ADAL" clId="{7CA32505-6B2D-42E2-BE02-A2878D8E3640}" dt="2020-03-05T22:45:35.662" v="1823" actId="6549"/>
          <ac:spMkLst>
            <pc:docMk/>
            <pc:sldMk cId="1030677442" sldId="621"/>
            <ac:spMk id="6" creationId="{70F92798-54C4-42CE-9509-349D1E88B39C}"/>
          </ac:spMkLst>
        </pc:spChg>
        <pc:graphicFrameChg chg="mod">
          <ac:chgData name="Sam Mesel" userId="1ee7badb-5d1f-4872-89ae-dcf7b71f276a" providerId="ADAL" clId="{7CA32505-6B2D-42E2-BE02-A2878D8E3640}" dt="2020-03-05T22:46:38.748" v="1842" actId="20577"/>
          <ac:graphicFrameMkLst>
            <pc:docMk/>
            <pc:sldMk cId="1030677442" sldId="621"/>
            <ac:graphicFrameMk id="7" creationId="{8054562B-EDA4-4A5F-95DF-6B68DF7EFF40}"/>
          </ac:graphicFrameMkLst>
        </pc:graphicFrameChg>
      </pc:sldChg>
      <pc:sldChg chg="addSp delSp modSp mod">
        <pc:chgData name="Sam Mesel" userId="1ee7badb-5d1f-4872-89ae-dcf7b71f276a" providerId="ADAL" clId="{7CA32505-6B2D-42E2-BE02-A2878D8E3640}" dt="2020-03-05T21:12:04.904" v="349" actId="20577"/>
        <pc:sldMkLst>
          <pc:docMk/>
          <pc:sldMk cId="3727622838" sldId="622"/>
        </pc:sldMkLst>
        <pc:spChg chg="del mod">
          <ac:chgData name="Sam Mesel" userId="1ee7badb-5d1f-4872-89ae-dcf7b71f276a" providerId="ADAL" clId="{7CA32505-6B2D-42E2-BE02-A2878D8E3640}" dt="2020-03-05T02:31:21.972" v="52" actId="12084"/>
          <ac:spMkLst>
            <pc:docMk/>
            <pc:sldMk cId="3727622838" sldId="622"/>
            <ac:spMk id="4" creationId="{F3616A99-090F-45E1-9334-58D58B148205}"/>
          </ac:spMkLst>
        </pc:spChg>
        <pc:graphicFrameChg chg="mod">
          <ac:chgData name="Sam Mesel" userId="1ee7badb-5d1f-4872-89ae-dcf7b71f276a" providerId="ADAL" clId="{7CA32505-6B2D-42E2-BE02-A2878D8E3640}" dt="2020-03-05T02:31:39.842" v="56" actId="14100"/>
          <ac:graphicFrameMkLst>
            <pc:docMk/>
            <pc:sldMk cId="3727622838" sldId="622"/>
            <ac:graphicFrameMk id="5" creationId="{D7AA4849-9265-4768-8404-82A32BB2007A}"/>
          </ac:graphicFrameMkLst>
        </pc:graphicFrameChg>
        <pc:graphicFrameChg chg="add mod">
          <ac:chgData name="Sam Mesel" userId="1ee7badb-5d1f-4872-89ae-dcf7b71f276a" providerId="ADAL" clId="{7CA32505-6B2D-42E2-BE02-A2878D8E3640}" dt="2020-03-05T21:12:04.904" v="349" actId="20577"/>
          <ac:graphicFrameMkLst>
            <pc:docMk/>
            <pc:sldMk cId="3727622838" sldId="622"/>
            <ac:graphicFrameMk id="10" creationId="{5A2BA549-9659-4CD7-888E-C537D5FFC7E6}"/>
          </ac:graphicFrameMkLst>
        </pc:graphicFrameChg>
      </pc:sldChg>
      <pc:sldChg chg="modSp mod">
        <pc:chgData name="Sam Mesel" userId="1ee7badb-5d1f-4872-89ae-dcf7b71f276a" providerId="ADAL" clId="{7CA32505-6B2D-42E2-BE02-A2878D8E3640}" dt="2020-03-05T22:50:13.738" v="1843" actId="6549"/>
        <pc:sldMkLst>
          <pc:docMk/>
          <pc:sldMk cId="593398684" sldId="624"/>
        </pc:sldMkLst>
        <pc:spChg chg="mod">
          <ac:chgData name="Sam Mesel" userId="1ee7badb-5d1f-4872-89ae-dcf7b71f276a" providerId="ADAL" clId="{7CA32505-6B2D-42E2-BE02-A2878D8E3640}" dt="2020-03-05T22:50:13.738" v="1843" actId="6549"/>
          <ac:spMkLst>
            <pc:docMk/>
            <pc:sldMk cId="593398684" sldId="624"/>
            <ac:spMk id="8" creationId="{D4E53F4A-1426-4587-A994-2539692BA5CD}"/>
          </ac:spMkLst>
        </pc:spChg>
      </pc:sldChg>
      <pc:sldChg chg="addSp delSp modSp mod modNotes">
        <pc:chgData name="Sam Mesel" userId="1ee7badb-5d1f-4872-89ae-dcf7b71f276a" providerId="ADAL" clId="{7CA32505-6B2D-42E2-BE02-A2878D8E3640}" dt="2020-03-05T23:46:53.242" v="2443" actId="20577"/>
        <pc:sldMkLst>
          <pc:docMk/>
          <pc:sldMk cId="2024360696" sldId="627"/>
        </pc:sldMkLst>
        <pc:spChg chg="mod">
          <ac:chgData name="Sam Mesel" userId="1ee7badb-5d1f-4872-89ae-dcf7b71f276a" providerId="ADAL" clId="{7CA32505-6B2D-42E2-BE02-A2878D8E3640}" dt="2020-03-05T23:40:24.826" v="2226" actId="6549"/>
          <ac:spMkLst>
            <pc:docMk/>
            <pc:sldMk cId="2024360696" sldId="627"/>
            <ac:spMk id="2" creationId="{EB67312A-9819-43C6-8D84-D9136E6CFFCC}"/>
          </ac:spMkLst>
        </pc:spChg>
        <pc:spChg chg="mod">
          <ac:chgData name="Sam Mesel" userId="1ee7badb-5d1f-4872-89ae-dcf7b71f276a" providerId="ADAL" clId="{7CA32505-6B2D-42E2-BE02-A2878D8E3640}" dt="2020-03-05T23:44:48.336" v="2433" actId="27636"/>
          <ac:spMkLst>
            <pc:docMk/>
            <pc:sldMk cId="2024360696" sldId="627"/>
            <ac:spMk id="4" creationId="{F3616A99-090F-45E1-9334-58D58B148205}"/>
          </ac:spMkLst>
        </pc:spChg>
        <pc:spChg chg="add del mod">
          <ac:chgData name="Sam Mesel" userId="1ee7badb-5d1f-4872-89ae-dcf7b71f276a" providerId="ADAL" clId="{7CA32505-6B2D-42E2-BE02-A2878D8E3640}" dt="2020-03-05T23:45:36.613" v="2440" actId="12084"/>
          <ac:spMkLst>
            <pc:docMk/>
            <pc:sldMk cId="2024360696" sldId="627"/>
            <ac:spMk id="5" creationId="{BDB2BD55-C0A1-472A-9CB5-504AC8572A5A}"/>
          </ac:spMkLst>
        </pc:spChg>
        <pc:graphicFrameChg chg="add mod">
          <ac:chgData name="Sam Mesel" userId="1ee7badb-5d1f-4872-89ae-dcf7b71f276a" providerId="ADAL" clId="{7CA32505-6B2D-42E2-BE02-A2878D8E3640}" dt="2020-03-05T23:46:53.242" v="2443" actId="20577"/>
          <ac:graphicFrameMkLst>
            <pc:docMk/>
            <pc:sldMk cId="2024360696" sldId="627"/>
            <ac:graphicFrameMk id="6" creationId="{F967AF4A-2A1C-462A-B644-579C945DCE1E}"/>
          </ac:graphicFrameMkLst>
        </pc:graphicFrameChg>
      </pc:sldChg>
      <pc:sldChg chg="addSp delSp modSp mod">
        <pc:chgData name="Sam Mesel" userId="1ee7badb-5d1f-4872-89ae-dcf7b71f276a" providerId="ADAL" clId="{7CA32505-6B2D-42E2-BE02-A2878D8E3640}" dt="2020-03-05T23:26:01.677" v="2135" actId="20577"/>
        <pc:sldMkLst>
          <pc:docMk/>
          <pc:sldMk cId="3702163554" sldId="630"/>
        </pc:sldMkLst>
        <pc:spChg chg="del mod">
          <ac:chgData name="Sam Mesel" userId="1ee7badb-5d1f-4872-89ae-dcf7b71f276a" providerId="ADAL" clId="{7CA32505-6B2D-42E2-BE02-A2878D8E3640}" dt="2020-03-05T23:25:39.916" v="2098" actId="12084"/>
          <ac:spMkLst>
            <pc:docMk/>
            <pc:sldMk cId="3702163554" sldId="630"/>
            <ac:spMk id="13" creationId="{885F2BFB-4471-4E46-BB83-F9FEC705CDC9}"/>
          </ac:spMkLst>
        </pc:spChg>
        <pc:graphicFrameChg chg="add mod">
          <ac:chgData name="Sam Mesel" userId="1ee7badb-5d1f-4872-89ae-dcf7b71f276a" providerId="ADAL" clId="{7CA32505-6B2D-42E2-BE02-A2878D8E3640}" dt="2020-03-05T23:26:01.677" v="2135" actId="20577"/>
          <ac:graphicFrameMkLst>
            <pc:docMk/>
            <pc:sldMk cId="3702163554" sldId="630"/>
            <ac:graphicFrameMk id="4" creationId="{1B788303-8EA3-412B-B41D-DEC47C2A526F}"/>
          </ac:graphicFrameMkLst>
        </pc:graphicFrameChg>
      </pc:sldChg>
      <pc:sldChg chg="modSp">
        <pc:chgData name="Sam Mesel" userId="1ee7badb-5d1f-4872-89ae-dcf7b71f276a" providerId="ADAL" clId="{7CA32505-6B2D-42E2-BE02-A2878D8E3640}" dt="2020-03-17T23:42:10.140" v="2571" actId="20577"/>
        <pc:sldMkLst>
          <pc:docMk/>
          <pc:sldMk cId="2857195574" sldId="632"/>
        </pc:sldMkLst>
        <pc:graphicFrameChg chg="mod">
          <ac:chgData name="Sam Mesel" userId="1ee7badb-5d1f-4872-89ae-dcf7b71f276a" providerId="ADAL" clId="{7CA32505-6B2D-42E2-BE02-A2878D8E3640}" dt="2020-03-17T23:42:10.140" v="2571" actId="20577"/>
          <ac:graphicFrameMkLst>
            <pc:docMk/>
            <pc:sldMk cId="2857195574" sldId="632"/>
            <ac:graphicFrameMk id="10" creationId="{75AC7946-B543-4AC6-BEEB-2081C063A73D}"/>
          </ac:graphicFrameMkLst>
        </pc:graphicFrameChg>
      </pc:sldChg>
      <pc:sldChg chg="modSp modNotes">
        <pc:chgData name="Sam Mesel" userId="1ee7badb-5d1f-4872-89ae-dcf7b71f276a" providerId="ADAL" clId="{7CA32505-6B2D-42E2-BE02-A2878D8E3640}" dt="2020-03-05T23:06:39.690" v="2077" actId="13782"/>
        <pc:sldMkLst>
          <pc:docMk/>
          <pc:sldMk cId="2202610295" sldId="635"/>
        </pc:sldMkLst>
        <pc:graphicFrameChg chg="mod">
          <ac:chgData name="Sam Mesel" userId="1ee7badb-5d1f-4872-89ae-dcf7b71f276a" providerId="ADAL" clId="{7CA32505-6B2D-42E2-BE02-A2878D8E3640}" dt="2020-03-05T23:06:39.690" v="2077" actId="13782"/>
          <ac:graphicFrameMkLst>
            <pc:docMk/>
            <pc:sldMk cId="2202610295" sldId="635"/>
            <ac:graphicFrameMk id="5" creationId="{85FCFEA5-76C0-481C-AAC4-2ED55A37454B}"/>
          </ac:graphicFrameMkLst>
        </pc:graphicFrameChg>
      </pc:sldChg>
      <pc:sldChg chg="addSp delSp modSp mod">
        <pc:chgData name="Sam Mesel" userId="1ee7badb-5d1f-4872-89ae-dcf7b71f276a" providerId="ADAL" clId="{7CA32505-6B2D-42E2-BE02-A2878D8E3640}" dt="2020-03-05T22:54:36.974" v="1928" actId="14100"/>
        <pc:sldMkLst>
          <pc:docMk/>
          <pc:sldMk cId="533282277" sldId="643"/>
        </pc:sldMkLst>
        <pc:spChg chg="del mod">
          <ac:chgData name="Sam Mesel" userId="1ee7badb-5d1f-4872-89ae-dcf7b71f276a" providerId="ADAL" clId="{7CA32505-6B2D-42E2-BE02-A2878D8E3640}" dt="2020-03-05T22:54:32.854" v="1927" actId="12084"/>
          <ac:spMkLst>
            <pc:docMk/>
            <pc:sldMk cId="533282277" sldId="643"/>
            <ac:spMk id="25" creationId="{A0CA769B-4521-40FE-9E23-E3CEDE217E0A}"/>
          </ac:spMkLst>
        </pc:spChg>
        <pc:graphicFrameChg chg="add mod">
          <ac:chgData name="Sam Mesel" userId="1ee7badb-5d1f-4872-89ae-dcf7b71f276a" providerId="ADAL" clId="{7CA32505-6B2D-42E2-BE02-A2878D8E3640}" dt="2020-03-05T22:54:36.974" v="1928" actId="14100"/>
          <ac:graphicFrameMkLst>
            <pc:docMk/>
            <pc:sldMk cId="533282277" sldId="643"/>
            <ac:graphicFrameMk id="4" creationId="{BBDAC1E8-19B2-4351-BCA3-CFF0A90C4511}"/>
          </ac:graphicFrameMkLst>
        </pc:graphicFrameChg>
      </pc:sldChg>
      <pc:sldChg chg="delSp modSp mod">
        <pc:chgData name="Sam Mesel" userId="1ee7badb-5d1f-4872-89ae-dcf7b71f276a" providerId="ADAL" clId="{7CA32505-6B2D-42E2-BE02-A2878D8E3640}" dt="2020-03-19T22:30:29.180" v="2660" actId="478"/>
        <pc:sldMkLst>
          <pc:docMk/>
          <pc:sldMk cId="3563909604" sldId="644"/>
        </pc:sldMkLst>
        <pc:spChg chg="mod">
          <ac:chgData name="Sam Mesel" userId="1ee7badb-5d1f-4872-89ae-dcf7b71f276a" providerId="ADAL" clId="{7CA32505-6B2D-42E2-BE02-A2878D8E3640}" dt="2020-03-19T22:30:21.894" v="2658" actId="27636"/>
          <ac:spMkLst>
            <pc:docMk/>
            <pc:sldMk cId="3563909604" sldId="644"/>
            <ac:spMk id="2" creationId="{EB67312A-9819-43C6-8D84-D9136E6CFFCC}"/>
          </ac:spMkLst>
        </pc:spChg>
        <pc:spChg chg="del">
          <ac:chgData name="Sam Mesel" userId="1ee7badb-5d1f-4872-89ae-dcf7b71f276a" providerId="ADAL" clId="{7CA32505-6B2D-42E2-BE02-A2878D8E3640}" dt="2020-03-19T22:30:29.180" v="2660" actId="478"/>
          <ac:spMkLst>
            <pc:docMk/>
            <pc:sldMk cId="3563909604" sldId="644"/>
            <ac:spMk id="4" creationId="{CB772731-F886-4083-9693-7418048D2D92}"/>
          </ac:spMkLst>
        </pc:spChg>
      </pc:sldChg>
      <pc:sldChg chg="modSp add del">
        <pc:chgData name="Sam Mesel" userId="1ee7badb-5d1f-4872-89ae-dcf7b71f276a" providerId="ADAL" clId="{7CA32505-6B2D-42E2-BE02-A2878D8E3640}" dt="2020-03-18T17:45:37.389" v="2657" actId="47"/>
        <pc:sldMkLst>
          <pc:docMk/>
          <pc:sldMk cId="4255870416" sldId="644"/>
        </pc:sldMkLst>
        <pc:graphicFrameChg chg="mod">
          <ac:chgData name="Sam Mesel" userId="1ee7badb-5d1f-4872-89ae-dcf7b71f276a" providerId="ADAL" clId="{7CA32505-6B2D-42E2-BE02-A2878D8E3640}" dt="2020-03-17T23:43:37.317" v="2572" actId="14100"/>
          <ac:graphicFrameMkLst>
            <pc:docMk/>
            <pc:sldMk cId="4255870416" sldId="644"/>
            <ac:graphicFrameMk id="10" creationId="{75AC7946-B543-4AC6-BEEB-2081C063A73D}"/>
          </ac:graphicFrameMkLst>
        </pc:graphicFrameChg>
      </pc:sldChg>
    </pc:docChg>
  </pc:docChgLst>
  <pc:docChgLst>
    <pc:chgData name="Daniel Valero" userId="31dd2ff7-9a08-462f-9096-6c487a317220" providerId="ADAL" clId="{1BBB825C-11F3-4BCB-BAF1-7F11B5FD6B74}"/>
    <pc:docChg chg="modSld">
      <pc:chgData name="Daniel Valero" userId="31dd2ff7-9a08-462f-9096-6c487a317220" providerId="ADAL" clId="{1BBB825C-11F3-4BCB-BAF1-7F11B5FD6B74}" dt="2020-03-03T04:01:27.328" v="51" actId="6549"/>
      <pc:docMkLst>
        <pc:docMk/>
      </pc:docMkLst>
      <pc:sldChg chg="modSp mod modNotesTx">
        <pc:chgData name="Daniel Valero" userId="31dd2ff7-9a08-462f-9096-6c487a317220" providerId="ADAL" clId="{1BBB825C-11F3-4BCB-BAF1-7F11B5FD6B74}" dt="2020-03-03T04:01:27.328" v="51" actId="6549"/>
        <pc:sldMkLst>
          <pc:docMk/>
          <pc:sldMk cId="3006523152" sldId="581"/>
        </pc:sldMkLst>
        <pc:spChg chg="mod">
          <ac:chgData name="Daniel Valero" userId="31dd2ff7-9a08-462f-9096-6c487a317220" providerId="ADAL" clId="{1BBB825C-11F3-4BCB-BAF1-7F11B5FD6B74}" dt="2020-03-03T04:01:27.328" v="51" actId="6549"/>
          <ac:spMkLst>
            <pc:docMk/>
            <pc:sldMk cId="3006523152" sldId="581"/>
            <ac:spMk id="6" creationId="{637E159C-9ACF-48AE-927A-D5FB13695C7F}"/>
          </ac:spMkLst>
        </pc:spChg>
      </pc:sldChg>
    </pc:docChg>
  </pc:docChgLst>
  <pc:docChgLst>
    <pc:chgData name="Batuhan Yildiz" userId="90f344fc-4655-4923-aeaf-697bba59c1a7" providerId="ADAL" clId="{7699803F-5110-4C13-8284-EFC364418B72}"/>
    <pc:docChg chg="addSld delSld modSld delSection modSection">
      <pc:chgData name="Batuhan Yildiz" userId="90f344fc-4655-4923-aeaf-697bba59c1a7" providerId="ADAL" clId="{7699803F-5110-4C13-8284-EFC364418B72}" dt="2020-02-06T02:41:25.153" v="36" actId="20577"/>
      <pc:docMkLst>
        <pc:docMk/>
      </pc:docMkLst>
      <pc:sldChg chg="modSp mod">
        <pc:chgData name="Batuhan Yildiz" userId="90f344fc-4655-4923-aeaf-697bba59c1a7" providerId="ADAL" clId="{7699803F-5110-4C13-8284-EFC364418B72}" dt="2020-02-05T03:14:51.503" v="2"/>
        <pc:sldMkLst>
          <pc:docMk/>
          <pc:sldMk cId="1196121053" sldId="260"/>
        </pc:sldMkLst>
        <pc:spChg chg="mod">
          <ac:chgData name="Batuhan Yildiz" userId="90f344fc-4655-4923-aeaf-697bba59c1a7" providerId="ADAL" clId="{7699803F-5110-4C13-8284-EFC364418B72}" dt="2020-02-05T03:14:51.503" v="2"/>
          <ac:spMkLst>
            <pc:docMk/>
            <pc:sldMk cId="1196121053" sldId="260"/>
            <ac:spMk id="4" creationId="{5D85DF47-300F-4085-B774-DDE734B96F99}"/>
          </ac:spMkLst>
        </pc:spChg>
        <pc:spChg chg="mod">
          <ac:chgData name="Batuhan Yildiz" userId="90f344fc-4655-4923-aeaf-697bba59c1a7" providerId="ADAL" clId="{7699803F-5110-4C13-8284-EFC364418B72}" dt="2020-02-05T03:14:42.665" v="1" actId="20577"/>
          <ac:spMkLst>
            <pc:docMk/>
            <pc:sldMk cId="1196121053" sldId="260"/>
            <ac:spMk id="5" creationId="{806AE5AE-CAF0-4BF4-872E-C97AF8874A6F}"/>
          </ac:spMkLst>
        </pc:spChg>
      </pc:sldChg>
      <pc:sldChg chg="modSp">
        <pc:chgData name="Batuhan Yildiz" userId="90f344fc-4655-4923-aeaf-697bba59c1a7" providerId="ADAL" clId="{7699803F-5110-4C13-8284-EFC364418B72}" dt="2020-02-05T03:15:20.804" v="4"/>
        <pc:sldMkLst>
          <pc:docMk/>
          <pc:sldMk cId="4083746080" sldId="561"/>
        </pc:sldMkLst>
        <pc:spChg chg="mod">
          <ac:chgData name="Batuhan Yildiz" userId="90f344fc-4655-4923-aeaf-697bba59c1a7" providerId="ADAL" clId="{7699803F-5110-4C13-8284-EFC364418B72}" dt="2020-02-05T03:15:20.804" v="4"/>
          <ac:spMkLst>
            <pc:docMk/>
            <pc:sldMk cId="4083746080" sldId="561"/>
            <ac:spMk id="2" creationId="{74CD77A6-E28D-4D8D-9FE5-64ADAA827AC9}"/>
          </ac:spMkLst>
        </pc:spChg>
      </pc:sldChg>
      <pc:sldChg chg="modSp mod">
        <pc:chgData name="Batuhan Yildiz" userId="90f344fc-4655-4923-aeaf-697bba59c1a7" providerId="ADAL" clId="{7699803F-5110-4C13-8284-EFC364418B72}" dt="2020-02-06T02:41:25.153" v="36" actId="20577"/>
        <pc:sldMkLst>
          <pc:docMk/>
          <pc:sldMk cId="1615560134" sldId="562"/>
        </pc:sldMkLst>
        <pc:spChg chg="mod">
          <ac:chgData name="Batuhan Yildiz" userId="90f344fc-4655-4923-aeaf-697bba59c1a7" providerId="ADAL" clId="{7699803F-5110-4C13-8284-EFC364418B72}" dt="2020-02-06T02:41:25.153" v="36" actId="20577"/>
          <ac:spMkLst>
            <pc:docMk/>
            <pc:sldMk cId="1615560134" sldId="562"/>
            <ac:spMk id="3" creationId="{859B2BAE-A383-4E74-B3CF-9AC64DA11727}"/>
          </ac:spMkLst>
        </pc:spChg>
      </pc:sldChg>
      <pc:sldChg chg="modSp">
        <pc:chgData name="Batuhan Yildiz" userId="90f344fc-4655-4923-aeaf-697bba59c1a7" providerId="ADAL" clId="{7699803F-5110-4C13-8284-EFC364418B72}" dt="2020-02-05T03:15:35.512" v="5"/>
        <pc:sldMkLst>
          <pc:docMk/>
          <pc:sldMk cId="289400407" sldId="564"/>
        </pc:sldMkLst>
        <pc:spChg chg="mod">
          <ac:chgData name="Batuhan Yildiz" userId="90f344fc-4655-4923-aeaf-697bba59c1a7" providerId="ADAL" clId="{7699803F-5110-4C13-8284-EFC364418B72}" dt="2020-02-05T03:15:35.512" v="5"/>
          <ac:spMkLst>
            <pc:docMk/>
            <pc:sldMk cId="289400407" sldId="564"/>
            <ac:spMk id="2" creationId="{74CD77A6-E28D-4D8D-9FE5-64ADAA827AC9}"/>
          </ac:spMkLst>
        </pc:spChg>
      </pc:sldChg>
      <pc:sldChg chg="modSp">
        <pc:chgData name="Batuhan Yildiz" userId="90f344fc-4655-4923-aeaf-697bba59c1a7" providerId="ADAL" clId="{7699803F-5110-4C13-8284-EFC364418B72}" dt="2020-02-05T03:15:49.649" v="6"/>
        <pc:sldMkLst>
          <pc:docMk/>
          <pc:sldMk cId="57495843" sldId="571"/>
        </pc:sldMkLst>
        <pc:spChg chg="mod">
          <ac:chgData name="Batuhan Yildiz" userId="90f344fc-4655-4923-aeaf-697bba59c1a7" providerId="ADAL" clId="{7699803F-5110-4C13-8284-EFC364418B72}" dt="2020-02-05T03:15:49.649" v="6"/>
          <ac:spMkLst>
            <pc:docMk/>
            <pc:sldMk cId="57495843" sldId="571"/>
            <ac:spMk id="2" creationId="{74CD77A6-E28D-4D8D-9FE5-64ADAA827AC9}"/>
          </ac:spMkLst>
        </pc:spChg>
      </pc:sldChg>
      <pc:sldChg chg="modSp mod">
        <pc:chgData name="Batuhan Yildiz" userId="90f344fc-4655-4923-aeaf-697bba59c1a7" providerId="ADAL" clId="{7699803F-5110-4C13-8284-EFC364418B72}" dt="2020-02-06T02:41:11.900" v="30" actId="20577"/>
        <pc:sldMkLst>
          <pc:docMk/>
          <pc:sldMk cId="1611742758" sldId="578"/>
        </pc:sldMkLst>
        <pc:spChg chg="mod">
          <ac:chgData name="Batuhan Yildiz" userId="90f344fc-4655-4923-aeaf-697bba59c1a7" providerId="ADAL" clId="{7699803F-5110-4C13-8284-EFC364418B72}" dt="2020-02-06T02:41:11.900" v="30" actId="20577"/>
          <ac:spMkLst>
            <pc:docMk/>
            <pc:sldMk cId="1611742758" sldId="578"/>
            <ac:spMk id="2" creationId="{74CD77A6-E28D-4D8D-9FE5-64ADAA827AC9}"/>
          </ac:spMkLst>
        </pc:spChg>
      </pc:sldChg>
      <pc:sldChg chg="modSp del">
        <pc:chgData name="Batuhan Yildiz" userId="90f344fc-4655-4923-aeaf-697bba59c1a7" providerId="ADAL" clId="{7699803F-5110-4C13-8284-EFC364418B72}" dt="2020-02-06T02:40:30.073" v="23" actId="47"/>
        <pc:sldMkLst>
          <pc:docMk/>
          <pc:sldMk cId="3265042349" sldId="585"/>
        </pc:sldMkLst>
        <pc:spChg chg="mod">
          <ac:chgData name="Batuhan Yildiz" userId="90f344fc-4655-4923-aeaf-697bba59c1a7" providerId="ADAL" clId="{7699803F-5110-4C13-8284-EFC364418B72}" dt="2020-02-05T03:16:29.298" v="11"/>
          <ac:spMkLst>
            <pc:docMk/>
            <pc:sldMk cId="3265042349" sldId="585"/>
            <ac:spMk id="2" creationId="{74CD77A6-E28D-4D8D-9FE5-64ADAA827AC9}"/>
          </ac:spMkLst>
        </pc:spChg>
      </pc:sldChg>
      <pc:sldChg chg="del">
        <pc:chgData name="Batuhan Yildiz" userId="90f344fc-4655-4923-aeaf-697bba59c1a7" providerId="ADAL" clId="{7699803F-5110-4C13-8284-EFC364418B72}" dt="2020-02-06T02:40:30.073" v="23" actId="47"/>
        <pc:sldMkLst>
          <pc:docMk/>
          <pc:sldMk cId="3258136525" sldId="586"/>
        </pc:sldMkLst>
      </pc:sldChg>
      <pc:sldChg chg="del">
        <pc:chgData name="Batuhan Yildiz" userId="90f344fc-4655-4923-aeaf-697bba59c1a7" providerId="ADAL" clId="{7699803F-5110-4C13-8284-EFC364418B72}" dt="2020-02-06T02:40:30.073" v="23" actId="47"/>
        <pc:sldMkLst>
          <pc:docMk/>
          <pc:sldMk cId="1635185343" sldId="587"/>
        </pc:sldMkLst>
      </pc:sldChg>
      <pc:sldChg chg="del">
        <pc:chgData name="Batuhan Yildiz" userId="90f344fc-4655-4923-aeaf-697bba59c1a7" providerId="ADAL" clId="{7699803F-5110-4C13-8284-EFC364418B72}" dt="2020-02-06T02:40:30.073" v="23" actId="47"/>
        <pc:sldMkLst>
          <pc:docMk/>
          <pc:sldMk cId="1564438252" sldId="588"/>
        </pc:sldMkLst>
      </pc:sldChg>
      <pc:sldChg chg="del">
        <pc:chgData name="Batuhan Yildiz" userId="90f344fc-4655-4923-aeaf-697bba59c1a7" providerId="ADAL" clId="{7699803F-5110-4C13-8284-EFC364418B72}" dt="2020-02-06T02:40:30.073" v="23" actId="47"/>
        <pc:sldMkLst>
          <pc:docMk/>
          <pc:sldMk cId="2725246263" sldId="589"/>
        </pc:sldMkLst>
      </pc:sldChg>
      <pc:sldChg chg="del">
        <pc:chgData name="Batuhan Yildiz" userId="90f344fc-4655-4923-aeaf-697bba59c1a7" providerId="ADAL" clId="{7699803F-5110-4C13-8284-EFC364418B72}" dt="2020-02-06T02:40:30.073" v="23" actId="47"/>
        <pc:sldMkLst>
          <pc:docMk/>
          <pc:sldMk cId="1844966639" sldId="590"/>
        </pc:sldMkLst>
      </pc:sldChg>
      <pc:sldChg chg="del">
        <pc:chgData name="Batuhan Yildiz" userId="90f344fc-4655-4923-aeaf-697bba59c1a7" providerId="ADAL" clId="{7699803F-5110-4C13-8284-EFC364418B72}" dt="2020-02-06T02:40:30.073" v="23" actId="47"/>
        <pc:sldMkLst>
          <pc:docMk/>
          <pc:sldMk cId="1737290916" sldId="591"/>
        </pc:sldMkLst>
      </pc:sldChg>
      <pc:sldChg chg="del">
        <pc:chgData name="Batuhan Yildiz" userId="90f344fc-4655-4923-aeaf-697bba59c1a7" providerId="ADAL" clId="{7699803F-5110-4C13-8284-EFC364418B72}" dt="2020-02-05T03:16:38.867" v="12" actId="47"/>
        <pc:sldMkLst>
          <pc:docMk/>
          <pc:sldMk cId="1945948018" sldId="592"/>
        </pc:sldMkLst>
      </pc:sldChg>
      <pc:sldChg chg="add">
        <pc:chgData name="Batuhan Yildiz" userId="90f344fc-4655-4923-aeaf-697bba59c1a7" providerId="ADAL" clId="{7699803F-5110-4C13-8284-EFC364418B72}" dt="2020-02-06T02:39:33.779" v="19"/>
        <pc:sldMkLst>
          <pc:docMk/>
          <pc:sldMk cId="3372985199" sldId="592"/>
        </pc:sldMkLst>
      </pc:sldChg>
      <pc:sldChg chg="del">
        <pc:chgData name="Batuhan Yildiz" userId="90f344fc-4655-4923-aeaf-697bba59c1a7" providerId="ADAL" clId="{7699803F-5110-4C13-8284-EFC364418B72}" dt="2020-02-05T03:16:38.867" v="12" actId="47"/>
        <pc:sldMkLst>
          <pc:docMk/>
          <pc:sldMk cId="1849063011" sldId="593"/>
        </pc:sldMkLst>
      </pc:sldChg>
      <pc:sldChg chg="add">
        <pc:chgData name="Batuhan Yildiz" userId="90f344fc-4655-4923-aeaf-697bba59c1a7" providerId="ADAL" clId="{7699803F-5110-4C13-8284-EFC364418B72}" dt="2020-02-06T02:39:40.258" v="20"/>
        <pc:sldMkLst>
          <pc:docMk/>
          <pc:sldMk cId="3536691941" sldId="593"/>
        </pc:sldMkLst>
      </pc:sldChg>
      <pc:sldChg chg="del">
        <pc:chgData name="Batuhan Yildiz" userId="90f344fc-4655-4923-aeaf-697bba59c1a7" providerId="ADAL" clId="{7699803F-5110-4C13-8284-EFC364418B72}" dt="2020-02-05T03:16:38.867" v="12" actId="47"/>
        <pc:sldMkLst>
          <pc:docMk/>
          <pc:sldMk cId="512892420" sldId="594"/>
        </pc:sldMkLst>
      </pc:sldChg>
      <pc:sldChg chg="add">
        <pc:chgData name="Batuhan Yildiz" userId="90f344fc-4655-4923-aeaf-697bba59c1a7" providerId="ADAL" clId="{7699803F-5110-4C13-8284-EFC364418B72}" dt="2020-02-06T02:39:47.481" v="21"/>
        <pc:sldMkLst>
          <pc:docMk/>
          <pc:sldMk cId="649839447" sldId="594"/>
        </pc:sldMkLst>
      </pc:sldChg>
      <pc:sldChg chg="del">
        <pc:chgData name="Batuhan Yildiz" userId="90f344fc-4655-4923-aeaf-697bba59c1a7" providerId="ADAL" clId="{7699803F-5110-4C13-8284-EFC364418B72}" dt="2020-02-05T03:16:38.867" v="12" actId="47"/>
        <pc:sldMkLst>
          <pc:docMk/>
          <pc:sldMk cId="1064848225" sldId="595"/>
        </pc:sldMkLst>
      </pc:sldChg>
      <pc:sldChg chg="add">
        <pc:chgData name="Batuhan Yildiz" userId="90f344fc-4655-4923-aeaf-697bba59c1a7" providerId="ADAL" clId="{7699803F-5110-4C13-8284-EFC364418B72}" dt="2020-02-06T02:39:54.624" v="22"/>
        <pc:sldMkLst>
          <pc:docMk/>
          <pc:sldMk cId="2776287314" sldId="595"/>
        </pc:sldMkLst>
      </pc:sldChg>
      <pc:sldChg chg="del">
        <pc:chgData name="Batuhan Yildiz" userId="90f344fc-4655-4923-aeaf-697bba59c1a7" providerId="ADAL" clId="{7699803F-5110-4C13-8284-EFC364418B72}" dt="2020-02-05T03:16:38.867" v="12" actId="47"/>
        <pc:sldMkLst>
          <pc:docMk/>
          <pc:sldMk cId="1274964080" sldId="596"/>
        </pc:sldMkLst>
      </pc:sldChg>
      <pc:sldChg chg="del">
        <pc:chgData name="Batuhan Yildiz" userId="90f344fc-4655-4923-aeaf-697bba59c1a7" providerId="ADAL" clId="{7699803F-5110-4C13-8284-EFC364418B72}" dt="2020-02-05T03:16:38.867" v="12" actId="47"/>
        <pc:sldMkLst>
          <pc:docMk/>
          <pc:sldMk cId="4224256510" sldId="597"/>
        </pc:sldMkLst>
      </pc:sldChg>
      <pc:sldChg chg="del">
        <pc:chgData name="Batuhan Yildiz" userId="90f344fc-4655-4923-aeaf-697bba59c1a7" providerId="ADAL" clId="{7699803F-5110-4C13-8284-EFC364418B72}" dt="2020-02-05T03:16:38.867" v="12" actId="47"/>
        <pc:sldMkLst>
          <pc:docMk/>
          <pc:sldMk cId="1731718220" sldId="598"/>
        </pc:sldMkLst>
      </pc:sldChg>
      <pc:sldChg chg="del">
        <pc:chgData name="Batuhan Yildiz" userId="90f344fc-4655-4923-aeaf-697bba59c1a7" providerId="ADAL" clId="{7699803F-5110-4C13-8284-EFC364418B72}" dt="2020-02-05T03:16:38.867" v="12" actId="47"/>
        <pc:sldMkLst>
          <pc:docMk/>
          <pc:sldMk cId="809679049" sldId="599"/>
        </pc:sldMkLst>
      </pc:sldChg>
      <pc:sldChg chg="del">
        <pc:chgData name="Batuhan Yildiz" userId="90f344fc-4655-4923-aeaf-697bba59c1a7" providerId="ADAL" clId="{7699803F-5110-4C13-8284-EFC364418B72}" dt="2020-02-05T03:16:38.867" v="12" actId="47"/>
        <pc:sldMkLst>
          <pc:docMk/>
          <pc:sldMk cId="247321886" sldId="600"/>
        </pc:sldMkLst>
      </pc:sldChg>
      <pc:sldChg chg="del">
        <pc:chgData name="Batuhan Yildiz" userId="90f344fc-4655-4923-aeaf-697bba59c1a7" providerId="ADAL" clId="{7699803F-5110-4C13-8284-EFC364418B72}" dt="2020-02-05T03:16:38.867" v="12" actId="47"/>
        <pc:sldMkLst>
          <pc:docMk/>
          <pc:sldMk cId="3908502129" sldId="601"/>
        </pc:sldMkLst>
      </pc:sldChg>
      <pc:sldChg chg="del">
        <pc:chgData name="Batuhan Yildiz" userId="90f344fc-4655-4923-aeaf-697bba59c1a7" providerId="ADAL" clId="{7699803F-5110-4C13-8284-EFC364418B72}" dt="2020-02-05T03:16:38.867" v="12" actId="47"/>
        <pc:sldMkLst>
          <pc:docMk/>
          <pc:sldMk cId="1466982777" sldId="602"/>
        </pc:sldMkLst>
      </pc:sldChg>
      <pc:sldChg chg="del">
        <pc:chgData name="Batuhan Yildiz" userId="90f344fc-4655-4923-aeaf-697bba59c1a7" providerId="ADAL" clId="{7699803F-5110-4C13-8284-EFC364418B72}" dt="2020-02-05T03:16:38.867" v="12" actId="47"/>
        <pc:sldMkLst>
          <pc:docMk/>
          <pc:sldMk cId="3803232285" sldId="603"/>
        </pc:sldMkLst>
      </pc:sldChg>
      <pc:sldChg chg="del">
        <pc:chgData name="Batuhan Yildiz" userId="90f344fc-4655-4923-aeaf-697bba59c1a7" providerId="ADAL" clId="{7699803F-5110-4C13-8284-EFC364418B72}" dt="2020-02-05T03:16:38.867" v="12" actId="47"/>
        <pc:sldMkLst>
          <pc:docMk/>
          <pc:sldMk cId="1430644532" sldId="604"/>
        </pc:sldMkLst>
      </pc:sldChg>
      <pc:sldChg chg="del">
        <pc:chgData name="Batuhan Yildiz" userId="90f344fc-4655-4923-aeaf-697bba59c1a7" providerId="ADAL" clId="{7699803F-5110-4C13-8284-EFC364418B72}" dt="2020-02-05T03:16:38.867" v="12" actId="47"/>
        <pc:sldMkLst>
          <pc:docMk/>
          <pc:sldMk cId="2889285480" sldId="605"/>
        </pc:sldMkLst>
      </pc:sldChg>
      <pc:sldChg chg="del">
        <pc:chgData name="Batuhan Yildiz" userId="90f344fc-4655-4923-aeaf-697bba59c1a7" providerId="ADAL" clId="{7699803F-5110-4C13-8284-EFC364418B72}" dt="2020-02-05T03:16:38.867" v="12" actId="47"/>
        <pc:sldMkLst>
          <pc:docMk/>
          <pc:sldMk cId="2219648348" sldId="606"/>
        </pc:sldMkLst>
      </pc:sldChg>
      <pc:sldChg chg="del">
        <pc:chgData name="Batuhan Yildiz" userId="90f344fc-4655-4923-aeaf-697bba59c1a7" providerId="ADAL" clId="{7699803F-5110-4C13-8284-EFC364418B72}" dt="2020-02-05T03:16:38.867" v="12" actId="47"/>
        <pc:sldMkLst>
          <pc:docMk/>
          <pc:sldMk cId="965929785" sldId="607"/>
        </pc:sldMkLst>
      </pc:sldChg>
      <pc:sldChg chg="del">
        <pc:chgData name="Batuhan Yildiz" userId="90f344fc-4655-4923-aeaf-697bba59c1a7" providerId="ADAL" clId="{7699803F-5110-4C13-8284-EFC364418B72}" dt="2020-02-05T03:16:38.867" v="12" actId="47"/>
        <pc:sldMkLst>
          <pc:docMk/>
          <pc:sldMk cId="57508058" sldId="608"/>
        </pc:sldMkLst>
      </pc:sldChg>
      <pc:sldChg chg="del">
        <pc:chgData name="Batuhan Yildiz" userId="90f344fc-4655-4923-aeaf-697bba59c1a7" providerId="ADAL" clId="{7699803F-5110-4C13-8284-EFC364418B72}" dt="2020-02-05T03:16:38.867" v="12" actId="47"/>
        <pc:sldMkLst>
          <pc:docMk/>
          <pc:sldMk cId="3995482144" sldId="609"/>
        </pc:sldMkLst>
      </pc:sldChg>
      <pc:sldChg chg="del">
        <pc:chgData name="Batuhan Yildiz" userId="90f344fc-4655-4923-aeaf-697bba59c1a7" providerId="ADAL" clId="{7699803F-5110-4C13-8284-EFC364418B72}" dt="2020-02-05T03:16:38.867" v="12" actId="47"/>
        <pc:sldMkLst>
          <pc:docMk/>
          <pc:sldMk cId="747863857" sldId="610"/>
        </pc:sldMkLst>
      </pc:sldChg>
      <pc:sldChg chg="del">
        <pc:chgData name="Batuhan Yildiz" userId="90f344fc-4655-4923-aeaf-697bba59c1a7" providerId="ADAL" clId="{7699803F-5110-4C13-8284-EFC364418B72}" dt="2020-02-05T03:16:38.867" v="12" actId="47"/>
        <pc:sldMkLst>
          <pc:docMk/>
          <pc:sldMk cId="4045060224" sldId="611"/>
        </pc:sldMkLst>
      </pc:sldChg>
      <pc:sldChg chg="del">
        <pc:chgData name="Batuhan Yildiz" userId="90f344fc-4655-4923-aeaf-697bba59c1a7" providerId="ADAL" clId="{7699803F-5110-4C13-8284-EFC364418B72}" dt="2020-02-05T03:16:38.867" v="12" actId="47"/>
        <pc:sldMkLst>
          <pc:docMk/>
          <pc:sldMk cId="3073578741" sldId="612"/>
        </pc:sldMkLst>
      </pc:sldChg>
    </pc:docChg>
  </pc:docChgLst>
  <pc:docChgLst>
    <pc:chgData name="Daniel Valero" userId="31dd2ff7-9a08-462f-9096-6c487a317220" providerId="ADAL" clId="{8985719F-2960-467C-8373-8D4D9670E82F}"/>
    <pc:docChg chg="undo custSel addSld delSld modSld sldOrd modSection">
      <pc:chgData name="Daniel Valero" userId="31dd2ff7-9a08-462f-9096-6c487a317220" providerId="ADAL" clId="{8985719F-2960-467C-8373-8D4D9670E82F}" dt="2020-02-26T21:26:28.997" v="2436" actId="5793"/>
      <pc:docMkLst>
        <pc:docMk/>
      </pc:docMkLst>
      <pc:sldChg chg="add">
        <pc:chgData name="Daniel Valero" userId="31dd2ff7-9a08-462f-9096-6c487a317220" providerId="ADAL" clId="{8985719F-2960-467C-8373-8D4D9670E82F}" dt="2020-02-26T20:21:09.969" v="1312"/>
        <pc:sldMkLst>
          <pc:docMk/>
          <pc:sldMk cId="3763190002" sldId="302"/>
        </pc:sldMkLst>
      </pc:sldChg>
      <pc:sldChg chg="modSp mod">
        <pc:chgData name="Daniel Valero" userId="31dd2ff7-9a08-462f-9096-6c487a317220" providerId="ADAL" clId="{8985719F-2960-467C-8373-8D4D9670E82F}" dt="2020-02-26T19:27:53.992" v="233" actId="790"/>
        <pc:sldMkLst>
          <pc:docMk/>
          <pc:sldMk cId="1611742758" sldId="578"/>
        </pc:sldMkLst>
        <pc:spChg chg="mod">
          <ac:chgData name="Daniel Valero" userId="31dd2ff7-9a08-462f-9096-6c487a317220" providerId="ADAL" clId="{8985719F-2960-467C-8373-8D4D9670E82F}" dt="2020-02-26T19:27:53.992" v="233" actId="790"/>
          <ac:spMkLst>
            <pc:docMk/>
            <pc:sldMk cId="1611742758" sldId="578"/>
            <ac:spMk id="2" creationId="{74CD77A6-E28D-4D8D-9FE5-64ADAA827AC9}"/>
          </ac:spMkLst>
        </pc:spChg>
      </pc:sldChg>
      <pc:sldChg chg="del">
        <pc:chgData name="Daniel Valero" userId="31dd2ff7-9a08-462f-9096-6c487a317220" providerId="ADAL" clId="{8985719F-2960-467C-8373-8D4D9670E82F}" dt="2020-02-26T19:48:19.248" v="783" actId="47"/>
        <pc:sldMkLst>
          <pc:docMk/>
          <pc:sldMk cId="2776287314" sldId="595"/>
        </pc:sldMkLst>
      </pc:sldChg>
      <pc:sldChg chg="modNotesTx">
        <pc:chgData name="Daniel Valero" userId="31dd2ff7-9a08-462f-9096-6c487a317220" providerId="ADAL" clId="{8985719F-2960-467C-8373-8D4D9670E82F}" dt="2020-02-26T19:27:11.057" v="181" actId="20577"/>
        <pc:sldMkLst>
          <pc:docMk/>
          <pc:sldMk cId="1244209906" sldId="612"/>
        </pc:sldMkLst>
      </pc:sldChg>
      <pc:sldChg chg="del modNotesTx">
        <pc:chgData name="Daniel Valero" userId="31dd2ff7-9a08-462f-9096-6c487a317220" providerId="ADAL" clId="{8985719F-2960-467C-8373-8D4D9670E82F}" dt="2020-02-26T19:27:14.752" v="182" actId="47"/>
        <pc:sldMkLst>
          <pc:docMk/>
          <pc:sldMk cId="1785315488" sldId="614"/>
        </pc:sldMkLst>
      </pc:sldChg>
      <pc:sldChg chg="modSp mod">
        <pc:chgData name="Daniel Valero" userId="31dd2ff7-9a08-462f-9096-6c487a317220" providerId="ADAL" clId="{8985719F-2960-467C-8373-8D4D9670E82F}" dt="2020-02-26T19:28:14.776" v="237" actId="20577"/>
        <pc:sldMkLst>
          <pc:docMk/>
          <pc:sldMk cId="3804096970" sldId="615"/>
        </pc:sldMkLst>
        <pc:spChg chg="mod">
          <ac:chgData name="Daniel Valero" userId="31dd2ff7-9a08-462f-9096-6c487a317220" providerId="ADAL" clId="{8985719F-2960-467C-8373-8D4D9670E82F}" dt="2020-02-26T19:28:14.776" v="237" actId="20577"/>
          <ac:spMkLst>
            <pc:docMk/>
            <pc:sldMk cId="3804096970" sldId="615"/>
            <ac:spMk id="4" creationId="{F3616A99-090F-45E1-9334-58D58B148205}"/>
          </ac:spMkLst>
        </pc:spChg>
      </pc:sldChg>
      <pc:sldChg chg="del">
        <pc:chgData name="Daniel Valero" userId="31dd2ff7-9a08-462f-9096-6c487a317220" providerId="ADAL" clId="{8985719F-2960-467C-8373-8D4D9670E82F}" dt="2020-02-26T19:23:50.411" v="120" actId="47"/>
        <pc:sldMkLst>
          <pc:docMk/>
          <pc:sldMk cId="3292541491" sldId="616"/>
        </pc:sldMkLst>
      </pc:sldChg>
      <pc:sldChg chg="modSp mod">
        <pc:chgData name="Daniel Valero" userId="31dd2ff7-9a08-462f-9096-6c487a317220" providerId="ADAL" clId="{8985719F-2960-467C-8373-8D4D9670E82F}" dt="2020-02-26T20:17:01.752" v="1311" actId="14100"/>
        <pc:sldMkLst>
          <pc:docMk/>
          <pc:sldMk cId="2202142392" sldId="619"/>
        </pc:sldMkLst>
        <pc:picChg chg="mod">
          <ac:chgData name="Daniel Valero" userId="31dd2ff7-9a08-462f-9096-6c487a317220" providerId="ADAL" clId="{8985719F-2960-467C-8373-8D4D9670E82F}" dt="2020-02-26T20:17:01.752" v="1311" actId="14100"/>
          <ac:picMkLst>
            <pc:docMk/>
            <pc:sldMk cId="2202142392" sldId="619"/>
            <ac:picMk id="16" creationId="{A1948D66-D986-4C41-85D0-B9783B322996}"/>
          </ac:picMkLst>
        </pc:picChg>
      </pc:sldChg>
      <pc:sldChg chg="modSp mod">
        <pc:chgData name="Daniel Valero" userId="31dd2ff7-9a08-462f-9096-6c487a317220" providerId="ADAL" clId="{8985719F-2960-467C-8373-8D4D9670E82F}" dt="2020-02-26T19:16:02.675" v="11" actId="20577"/>
        <pc:sldMkLst>
          <pc:docMk/>
          <pc:sldMk cId="1030677442" sldId="621"/>
        </pc:sldMkLst>
        <pc:spChg chg="mod">
          <ac:chgData name="Daniel Valero" userId="31dd2ff7-9a08-462f-9096-6c487a317220" providerId="ADAL" clId="{8985719F-2960-467C-8373-8D4D9670E82F}" dt="2020-02-26T19:15:58.901" v="9" actId="14100"/>
          <ac:spMkLst>
            <pc:docMk/>
            <pc:sldMk cId="1030677442" sldId="621"/>
            <ac:spMk id="6" creationId="{70F92798-54C4-42CE-9509-349D1E88B39C}"/>
          </ac:spMkLst>
        </pc:spChg>
        <pc:graphicFrameChg chg="mod">
          <ac:chgData name="Daniel Valero" userId="31dd2ff7-9a08-462f-9096-6c487a317220" providerId="ADAL" clId="{8985719F-2960-467C-8373-8D4D9670E82F}" dt="2020-02-26T19:16:02.675" v="11" actId="20577"/>
          <ac:graphicFrameMkLst>
            <pc:docMk/>
            <pc:sldMk cId="1030677442" sldId="621"/>
            <ac:graphicFrameMk id="7" creationId="{8054562B-EDA4-4A5F-95DF-6B68DF7EFF40}"/>
          </ac:graphicFrameMkLst>
        </pc:graphicFrameChg>
      </pc:sldChg>
      <pc:sldChg chg="modSp del mod">
        <pc:chgData name="Daniel Valero" userId="31dd2ff7-9a08-462f-9096-6c487a317220" providerId="ADAL" clId="{8985719F-2960-467C-8373-8D4D9670E82F}" dt="2020-02-26T19:24:34.176" v="151" actId="47"/>
        <pc:sldMkLst>
          <pc:docMk/>
          <pc:sldMk cId="1217066516" sldId="625"/>
        </pc:sldMkLst>
        <pc:spChg chg="mod">
          <ac:chgData name="Daniel Valero" userId="31dd2ff7-9a08-462f-9096-6c487a317220" providerId="ADAL" clId="{8985719F-2960-467C-8373-8D4D9670E82F}" dt="2020-02-26T19:22:36.535" v="117" actId="20577"/>
          <ac:spMkLst>
            <pc:docMk/>
            <pc:sldMk cId="1217066516" sldId="625"/>
            <ac:spMk id="2" creationId="{EB67312A-9819-43C6-8D84-D9136E6CFFCC}"/>
          </ac:spMkLst>
        </pc:spChg>
      </pc:sldChg>
      <pc:sldChg chg="addSp delSp modSp mod ord modNotesTx">
        <pc:chgData name="Daniel Valero" userId="31dd2ff7-9a08-462f-9096-6c487a317220" providerId="ADAL" clId="{8985719F-2960-467C-8373-8D4D9670E82F}" dt="2020-02-26T21:05:03.235" v="2265"/>
        <pc:sldMkLst>
          <pc:docMk/>
          <pc:sldMk cId="743094843" sldId="626"/>
        </pc:sldMkLst>
        <pc:spChg chg="mod">
          <ac:chgData name="Daniel Valero" userId="31dd2ff7-9a08-462f-9096-6c487a317220" providerId="ADAL" clId="{8985719F-2960-467C-8373-8D4D9670E82F}" dt="2020-02-26T19:35:11.815" v="474" actId="790"/>
          <ac:spMkLst>
            <pc:docMk/>
            <pc:sldMk cId="743094843" sldId="626"/>
            <ac:spMk id="2" creationId="{EB67312A-9819-43C6-8D84-D9136E6CFFCC}"/>
          </ac:spMkLst>
        </pc:spChg>
        <pc:spChg chg="mod">
          <ac:chgData name="Daniel Valero" userId="31dd2ff7-9a08-462f-9096-6c487a317220" providerId="ADAL" clId="{8985719F-2960-467C-8373-8D4D9670E82F}" dt="2020-02-26T19:44:12.121" v="772" actId="20577"/>
          <ac:spMkLst>
            <pc:docMk/>
            <pc:sldMk cId="743094843" sldId="626"/>
            <ac:spMk id="3" creationId="{F35E8CBB-5A7D-4DEF-BAF7-8DD5D042F9E0}"/>
          </ac:spMkLst>
        </pc:spChg>
        <pc:spChg chg="mod">
          <ac:chgData name="Daniel Valero" userId="31dd2ff7-9a08-462f-9096-6c487a317220" providerId="ADAL" clId="{8985719F-2960-467C-8373-8D4D9670E82F}" dt="2020-02-26T19:42:43.494" v="715" actId="6549"/>
          <ac:spMkLst>
            <pc:docMk/>
            <pc:sldMk cId="743094843" sldId="626"/>
            <ac:spMk id="4" creationId="{F3616A99-090F-45E1-9334-58D58B148205}"/>
          </ac:spMkLst>
        </pc:spChg>
        <pc:spChg chg="add del">
          <ac:chgData name="Daniel Valero" userId="31dd2ff7-9a08-462f-9096-6c487a317220" providerId="ADAL" clId="{8985719F-2960-467C-8373-8D4D9670E82F}" dt="2020-02-26T19:36:18.513" v="482"/>
          <ac:spMkLst>
            <pc:docMk/>
            <pc:sldMk cId="743094843" sldId="626"/>
            <ac:spMk id="5" creationId="{D9A0A5E9-FC71-407D-AE98-6E618EEAFFD8}"/>
          </ac:spMkLst>
        </pc:spChg>
        <pc:graphicFrameChg chg="add mod modGraphic">
          <ac:chgData name="Daniel Valero" userId="31dd2ff7-9a08-462f-9096-6c487a317220" providerId="ADAL" clId="{8985719F-2960-467C-8373-8D4D9670E82F}" dt="2020-02-26T19:45:16.163" v="774" actId="20577"/>
          <ac:graphicFrameMkLst>
            <pc:docMk/>
            <pc:sldMk cId="743094843" sldId="626"/>
            <ac:graphicFrameMk id="6" creationId="{111D002A-A0A4-4541-915F-22B1D3A7AB07}"/>
          </ac:graphicFrameMkLst>
        </pc:graphicFrameChg>
      </pc:sldChg>
      <pc:sldChg chg="modSp mod ord">
        <pc:chgData name="Daniel Valero" userId="31dd2ff7-9a08-462f-9096-6c487a317220" providerId="ADAL" clId="{8985719F-2960-467C-8373-8D4D9670E82F}" dt="2020-02-26T21:26:28.997" v="2436" actId="5793"/>
        <pc:sldMkLst>
          <pc:docMk/>
          <pc:sldMk cId="2024360696" sldId="627"/>
        </pc:sldMkLst>
        <pc:spChg chg="mod">
          <ac:chgData name="Daniel Valero" userId="31dd2ff7-9a08-462f-9096-6c487a317220" providerId="ADAL" clId="{8985719F-2960-467C-8373-8D4D9670E82F}" dt="2020-02-26T21:25:51.362" v="2428" actId="20577"/>
          <ac:spMkLst>
            <pc:docMk/>
            <pc:sldMk cId="2024360696" sldId="627"/>
            <ac:spMk id="3" creationId="{F35E8CBB-5A7D-4DEF-BAF7-8DD5D042F9E0}"/>
          </ac:spMkLst>
        </pc:spChg>
        <pc:spChg chg="mod">
          <ac:chgData name="Daniel Valero" userId="31dd2ff7-9a08-462f-9096-6c487a317220" providerId="ADAL" clId="{8985719F-2960-467C-8373-8D4D9670E82F}" dt="2020-02-26T21:26:28.997" v="2436" actId="5793"/>
          <ac:spMkLst>
            <pc:docMk/>
            <pc:sldMk cId="2024360696" sldId="627"/>
            <ac:spMk id="4" creationId="{F3616A99-090F-45E1-9334-58D58B148205}"/>
          </ac:spMkLst>
        </pc:spChg>
      </pc:sldChg>
      <pc:sldChg chg="addSp delSp modSp mod ord modNotesTx">
        <pc:chgData name="Daniel Valero" userId="31dd2ff7-9a08-462f-9096-6c487a317220" providerId="ADAL" clId="{8985719F-2960-467C-8373-8D4D9670E82F}" dt="2020-02-26T20:31:06.067" v="1539" actId="6549"/>
        <pc:sldMkLst>
          <pc:docMk/>
          <pc:sldMk cId="3785445527" sldId="628"/>
        </pc:sldMkLst>
        <pc:spChg chg="mod">
          <ac:chgData name="Daniel Valero" userId="31dd2ff7-9a08-462f-9096-6c487a317220" providerId="ADAL" clId="{8985719F-2960-467C-8373-8D4D9670E82F}" dt="2020-02-26T19:53:17.750" v="854" actId="790"/>
          <ac:spMkLst>
            <pc:docMk/>
            <pc:sldMk cId="3785445527" sldId="628"/>
            <ac:spMk id="2" creationId="{EB67312A-9819-43C6-8D84-D9136E6CFFCC}"/>
          </ac:spMkLst>
        </pc:spChg>
        <pc:spChg chg="mod">
          <ac:chgData name="Daniel Valero" userId="31dd2ff7-9a08-462f-9096-6c487a317220" providerId="ADAL" clId="{8985719F-2960-467C-8373-8D4D9670E82F}" dt="2020-02-26T19:53:17.750" v="854" actId="790"/>
          <ac:spMkLst>
            <pc:docMk/>
            <pc:sldMk cId="3785445527" sldId="628"/>
            <ac:spMk id="3" creationId="{F35E8CBB-5A7D-4DEF-BAF7-8DD5D042F9E0}"/>
          </ac:spMkLst>
        </pc:spChg>
        <pc:spChg chg="del mod">
          <ac:chgData name="Daniel Valero" userId="31dd2ff7-9a08-462f-9096-6c487a317220" providerId="ADAL" clId="{8985719F-2960-467C-8373-8D4D9670E82F}" dt="2020-02-26T19:51:25.353" v="841" actId="478"/>
          <ac:spMkLst>
            <pc:docMk/>
            <pc:sldMk cId="3785445527" sldId="628"/>
            <ac:spMk id="4" creationId="{F3616A99-090F-45E1-9334-58D58B148205}"/>
          </ac:spMkLst>
        </pc:spChg>
        <pc:spChg chg="add mod">
          <ac:chgData name="Daniel Valero" userId="31dd2ff7-9a08-462f-9096-6c487a317220" providerId="ADAL" clId="{8985719F-2960-467C-8373-8D4D9670E82F}" dt="2020-02-26T19:56:15.652" v="941" actId="1035"/>
          <ac:spMkLst>
            <pc:docMk/>
            <pc:sldMk cId="3785445527" sldId="628"/>
            <ac:spMk id="7" creationId="{326F01E2-D219-47E5-8E71-6E52740FD52A}"/>
          </ac:spMkLst>
        </pc:spChg>
        <pc:spChg chg="add mod">
          <ac:chgData name="Daniel Valero" userId="31dd2ff7-9a08-462f-9096-6c487a317220" providerId="ADAL" clId="{8985719F-2960-467C-8373-8D4D9670E82F}" dt="2020-02-26T19:56:15.652" v="941" actId="1035"/>
          <ac:spMkLst>
            <pc:docMk/>
            <pc:sldMk cId="3785445527" sldId="628"/>
            <ac:spMk id="9" creationId="{6D0EC966-8547-4FC8-BE1C-F539D042BCA3}"/>
          </ac:spMkLst>
        </pc:spChg>
        <pc:spChg chg="add mod">
          <ac:chgData name="Daniel Valero" userId="31dd2ff7-9a08-462f-9096-6c487a317220" providerId="ADAL" clId="{8985719F-2960-467C-8373-8D4D9670E82F}" dt="2020-02-26T19:53:17.750" v="854" actId="790"/>
          <ac:spMkLst>
            <pc:docMk/>
            <pc:sldMk cId="3785445527" sldId="628"/>
            <ac:spMk id="10" creationId="{62B687EA-EE62-4DCF-A5CC-1FC6F7BAAFFA}"/>
          </ac:spMkLst>
        </pc:spChg>
        <pc:spChg chg="add mod">
          <ac:chgData name="Daniel Valero" userId="31dd2ff7-9a08-462f-9096-6c487a317220" providerId="ADAL" clId="{8985719F-2960-467C-8373-8D4D9670E82F}" dt="2020-02-26T19:56:32.306" v="943" actId="1076"/>
          <ac:spMkLst>
            <pc:docMk/>
            <pc:sldMk cId="3785445527" sldId="628"/>
            <ac:spMk id="11" creationId="{F05FD029-2617-4745-9B9D-7A3AAFB450D0}"/>
          </ac:spMkLst>
        </pc:spChg>
        <pc:spChg chg="add mod">
          <ac:chgData name="Daniel Valero" userId="31dd2ff7-9a08-462f-9096-6c487a317220" providerId="ADAL" clId="{8985719F-2960-467C-8373-8D4D9670E82F}" dt="2020-02-26T19:53:17.750" v="854" actId="790"/>
          <ac:spMkLst>
            <pc:docMk/>
            <pc:sldMk cId="3785445527" sldId="628"/>
            <ac:spMk id="12" creationId="{05C9BD16-7380-4DFE-B836-0ED0B85D75F9}"/>
          </ac:spMkLst>
        </pc:spChg>
        <pc:spChg chg="add mod">
          <ac:chgData name="Daniel Valero" userId="31dd2ff7-9a08-462f-9096-6c487a317220" providerId="ADAL" clId="{8985719F-2960-467C-8373-8D4D9670E82F}" dt="2020-02-26T19:53:17.750" v="854" actId="790"/>
          <ac:spMkLst>
            <pc:docMk/>
            <pc:sldMk cId="3785445527" sldId="628"/>
            <ac:spMk id="13" creationId="{3EE0F69A-FCDA-455B-8CA4-D972CAA26674}"/>
          </ac:spMkLst>
        </pc:spChg>
        <pc:spChg chg="add mod">
          <ac:chgData name="Daniel Valero" userId="31dd2ff7-9a08-462f-9096-6c487a317220" providerId="ADAL" clId="{8985719F-2960-467C-8373-8D4D9670E82F}" dt="2020-02-26T19:53:17.750" v="854" actId="790"/>
          <ac:spMkLst>
            <pc:docMk/>
            <pc:sldMk cId="3785445527" sldId="628"/>
            <ac:spMk id="14" creationId="{F79EA48F-051F-4E7D-B093-5F52F6125788}"/>
          </ac:spMkLst>
        </pc:spChg>
        <pc:spChg chg="add mod">
          <ac:chgData name="Daniel Valero" userId="31dd2ff7-9a08-462f-9096-6c487a317220" providerId="ADAL" clId="{8985719F-2960-467C-8373-8D4D9670E82F}" dt="2020-02-26T20:31:06.067" v="1539" actId="6549"/>
          <ac:spMkLst>
            <pc:docMk/>
            <pc:sldMk cId="3785445527" sldId="628"/>
            <ac:spMk id="15" creationId="{BBDC2EA3-99C8-4CC9-8680-B00FB7E619E8}"/>
          </ac:spMkLst>
        </pc:spChg>
        <pc:picChg chg="add mod">
          <ac:chgData name="Daniel Valero" userId="31dd2ff7-9a08-462f-9096-6c487a317220" providerId="ADAL" clId="{8985719F-2960-467C-8373-8D4D9670E82F}" dt="2020-02-26T19:56:20.170" v="942" actId="554"/>
          <ac:picMkLst>
            <pc:docMk/>
            <pc:sldMk cId="3785445527" sldId="628"/>
            <ac:picMk id="5" creationId="{EC201D3E-B7B4-40D4-834E-9E2CDC7007B6}"/>
          </ac:picMkLst>
        </pc:picChg>
        <pc:picChg chg="add mod">
          <ac:chgData name="Daniel Valero" userId="31dd2ff7-9a08-462f-9096-6c487a317220" providerId="ADAL" clId="{8985719F-2960-467C-8373-8D4D9670E82F}" dt="2020-02-26T19:56:20.170" v="942" actId="554"/>
          <ac:picMkLst>
            <pc:docMk/>
            <pc:sldMk cId="3785445527" sldId="628"/>
            <ac:picMk id="6" creationId="{301CF1D3-1D9A-49B1-9A5E-5C6BE5582F16}"/>
          </ac:picMkLst>
        </pc:picChg>
        <pc:picChg chg="add mod">
          <ac:chgData name="Daniel Valero" userId="31dd2ff7-9a08-462f-9096-6c487a317220" providerId="ADAL" clId="{8985719F-2960-467C-8373-8D4D9670E82F}" dt="2020-02-26T19:56:32.306" v="943" actId="1076"/>
          <ac:picMkLst>
            <pc:docMk/>
            <pc:sldMk cId="3785445527" sldId="628"/>
            <ac:picMk id="8" creationId="{A2D31080-9FF8-48F0-B4B3-65421D5E57A6}"/>
          </ac:picMkLst>
        </pc:picChg>
      </pc:sldChg>
      <pc:sldChg chg="addSp delSp modSp mod modAnim modNotesTx">
        <pc:chgData name="Daniel Valero" userId="31dd2ff7-9a08-462f-9096-6c487a317220" providerId="ADAL" clId="{8985719F-2960-467C-8373-8D4D9670E82F}" dt="2020-02-26T20:15:36.450" v="1307" actId="20577"/>
        <pc:sldMkLst>
          <pc:docMk/>
          <pc:sldMk cId="3568901222" sldId="629"/>
        </pc:sldMkLst>
        <pc:spChg chg="mod">
          <ac:chgData name="Daniel Valero" userId="31dd2ff7-9a08-462f-9096-6c487a317220" providerId="ADAL" clId="{8985719F-2960-467C-8373-8D4D9670E82F}" dt="2020-02-26T20:03:12.572" v="1096" actId="20577"/>
          <ac:spMkLst>
            <pc:docMk/>
            <pc:sldMk cId="3568901222" sldId="629"/>
            <ac:spMk id="3" creationId="{F35E8CBB-5A7D-4DEF-BAF7-8DD5D042F9E0}"/>
          </ac:spMkLst>
        </pc:spChg>
        <pc:spChg chg="del mod">
          <ac:chgData name="Daniel Valero" userId="31dd2ff7-9a08-462f-9096-6c487a317220" providerId="ADAL" clId="{8985719F-2960-467C-8373-8D4D9670E82F}" dt="2020-02-26T20:04:40.784" v="1107" actId="478"/>
          <ac:spMkLst>
            <pc:docMk/>
            <pc:sldMk cId="3568901222" sldId="629"/>
            <ac:spMk id="4" creationId="{F3616A99-090F-45E1-9334-58D58B148205}"/>
          </ac:spMkLst>
        </pc:spChg>
        <pc:spChg chg="add mod">
          <ac:chgData name="Daniel Valero" userId="31dd2ff7-9a08-462f-9096-6c487a317220" providerId="ADAL" clId="{8985719F-2960-467C-8373-8D4D9670E82F}" dt="2020-02-26T20:14:50.547" v="1304" actId="1076"/>
          <ac:spMkLst>
            <pc:docMk/>
            <pc:sldMk cId="3568901222" sldId="629"/>
            <ac:spMk id="6" creationId="{4E5875F7-E805-4DD7-AEE4-1E443FC74EB6}"/>
          </ac:spMkLst>
        </pc:spChg>
        <pc:spChg chg="add del mod">
          <ac:chgData name="Daniel Valero" userId="31dd2ff7-9a08-462f-9096-6c487a317220" providerId="ADAL" clId="{8985719F-2960-467C-8373-8D4D9670E82F}" dt="2020-02-26T20:11:26.700" v="1140" actId="478"/>
          <ac:spMkLst>
            <pc:docMk/>
            <pc:sldMk cId="3568901222" sldId="629"/>
            <ac:spMk id="8" creationId="{345B4662-F3BF-4D70-B725-89CAABFCA408}"/>
          </ac:spMkLst>
        </pc:spChg>
        <pc:spChg chg="add del mod">
          <ac:chgData name="Daniel Valero" userId="31dd2ff7-9a08-462f-9096-6c487a317220" providerId="ADAL" clId="{8985719F-2960-467C-8373-8D4D9670E82F}" dt="2020-02-26T20:12:12.311" v="1209" actId="478"/>
          <ac:spMkLst>
            <pc:docMk/>
            <pc:sldMk cId="3568901222" sldId="629"/>
            <ac:spMk id="9" creationId="{15EC4EB3-D85A-4F72-B8F1-BE508D6BA4CD}"/>
          </ac:spMkLst>
        </pc:spChg>
        <pc:spChg chg="add del mod">
          <ac:chgData name="Daniel Valero" userId="31dd2ff7-9a08-462f-9096-6c487a317220" providerId="ADAL" clId="{8985719F-2960-467C-8373-8D4D9670E82F}" dt="2020-02-26T20:12:24.694" v="1255" actId="478"/>
          <ac:spMkLst>
            <pc:docMk/>
            <pc:sldMk cId="3568901222" sldId="629"/>
            <ac:spMk id="12" creationId="{03BF6847-4AD7-4EAE-908F-A44B398B9B3F}"/>
          </ac:spMkLst>
        </pc:spChg>
        <pc:spChg chg="add mod">
          <ac:chgData name="Daniel Valero" userId="31dd2ff7-9a08-462f-9096-6c487a317220" providerId="ADAL" clId="{8985719F-2960-467C-8373-8D4D9670E82F}" dt="2020-02-26T20:14:50.547" v="1304" actId="1076"/>
          <ac:spMkLst>
            <pc:docMk/>
            <pc:sldMk cId="3568901222" sldId="629"/>
            <ac:spMk id="13" creationId="{61A4EF2A-9CD6-4F81-A953-B367ECFEB2CA}"/>
          </ac:spMkLst>
        </pc:spChg>
        <pc:spChg chg="add del mod">
          <ac:chgData name="Daniel Valero" userId="31dd2ff7-9a08-462f-9096-6c487a317220" providerId="ADAL" clId="{8985719F-2960-467C-8373-8D4D9670E82F}" dt="2020-02-26T20:12:18.886" v="1211" actId="478"/>
          <ac:spMkLst>
            <pc:docMk/>
            <pc:sldMk cId="3568901222" sldId="629"/>
            <ac:spMk id="15" creationId="{F98484C5-54FE-41E1-AA02-92AEA4C681F1}"/>
          </ac:spMkLst>
        </pc:spChg>
        <pc:spChg chg="add mod">
          <ac:chgData name="Daniel Valero" userId="31dd2ff7-9a08-462f-9096-6c487a317220" providerId="ADAL" clId="{8985719F-2960-467C-8373-8D4D9670E82F}" dt="2020-02-26T20:14:50.547" v="1304" actId="1076"/>
          <ac:spMkLst>
            <pc:docMk/>
            <pc:sldMk cId="3568901222" sldId="629"/>
            <ac:spMk id="16" creationId="{16ACA1FF-EB07-4914-B834-218D850E5F63}"/>
          </ac:spMkLst>
        </pc:spChg>
        <pc:graphicFrameChg chg="add mod modGraphic">
          <ac:chgData name="Daniel Valero" userId="31dd2ff7-9a08-462f-9096-6c487a317220" providerId="ADAL" clId="{8985719F-2960-467C-8373-8D4D9670E82F}" dt="2020-02-26T20:14:52.662" v="1305" actId="14100"/>
          <ac:graphicFrameMkLst>
            <pc:docMk/>
            <pc:sldMk cId="3568901222" sldId="629"/>
            <ac:graphicFrameMk id="14" creationId="{AB7BD9DA-F2E1-4F40-9193-F7C0E8AC6A24}"/>
          </ac:graphicFrameMkLst>
        </pc:graphicFrameChg>
        <pc:picChg chg="add mod">
          <ac:chgData name="Daniel Valero" userId="31dd2ff7-9a08-462f-9096-6c487a317220" providerId="ADAL" clId="{8985719F-2960-467C-8373-8D4D9670E82F}" dt="2020-02-26T20:14:50.547" v="1304" actId="1076"/>
          <ac:picMkLst>
            <pc:docMk/>
            <pc:sldMk cId="3568901222" sldId="629"/>
            <ac:picMk id="5" creationId="{B00891A9-DEA0-492A-A431-5CEB4E74BDEB}"/>
          </ac:picMkLst>
        </pc:picChg>
        <pc:picChg chg="add mod">
          <ac:chgData name="Daniel Valero" userId="31dd2ff7-9a08-462f-9096-6c487a317220" providerId="ADAL" clId="{8985719F-2960-467C-8373-8D4D9670E82F}" dt="2020-02-26T20:14:50.547" v="1304" actId="1076"/>
          <ac:picMkLst>
            <pc:docMk/>
            <pc:sldMk cId="3568901222" sldId="629"/>
            <ac:picMk id="7" creationId="{47774C25-286D-4711-B033-EE7733D22408}"/>
          </ac:picMkLst>
        </pc:picChg>
        <pc:picChg chg="add mod">
          <ac:chgData name="Daniel Valero" userId="31dd2ff7-9a08-462f-9096-6c487a317220" providerId="ADAL" clId="{8985719F-2960-467C-8373-8D4D9670E82F}" dt="2020-02-26T20:14:50.547" v="1304" actId="1076"/>
          <ac:picMkLst>
            <pc:docMk/>
            <pc:sldMk cId="3568901222" sldId="629"/>
            <ac:picMk id="10" creationId="{7DEDF4AB-284D-459C-93B8-C1053307F741}"/>
          </ac:picMkLst>
        </pc:picChg>
        <pc:picChg chg="add mod">
          <ac:chgData name="Daniel Valero" userId="31dd2ff7-9a08-462f-9096-6c487a317220" providerId="ADAL" clId="{8985719F-2960-467C-8373-8D4D9670E82F}" dt="2020-02-26T20:14:50.547" v="1304" actId="1076"/>
          <ac:picMkLst>
            <pc:docMk/>
            <pc:sldMk cId="3568901222" sldId="629"/>
            <ac:picMk id="11" creationId="{E536A979-F355-43F6-8BB2-4400F8C54343}"/>
          </ac:picMkLst>
        </pc:picChg>
      </pc:sldChg>
      <pc:sldChg chg="addSp delSp modSp mod ord modNotesTx">
        <pc:chgData name="Daniel Valero" userId="31dd2ff7-9a08-462f-9096-6c487a317220" providerId="ADAL" clId="{8985719F-2960-467C-8373-8D4D9670E82F}" dt="2020-02-26T20:32:59.848" v="1637" actId="6549"/>
        <pc:sldMkLst>
          <pc:docMk/>
          <pc:sldMk cId="3702163554" sldId="630"/>
        </pc:sldMkLst>
        <pc:spChg chg="mod">
          <ac:chgData name="Daniel Valero" userId="31dd2ff7-9a08-462f-9096-6c487a317220" providerId="ADAL" clId="{8985719F-2960-467C-8373-8D4D9670E82F}" dt="2020-02-26T20:32:57.659" v="1636" actId="790"/>
          <ac:spMkLst>
            <pc:docMk/>
            <pc:sldMk cId="3702163554" sldId="630"/>
            <ac:spMk id="2" creationId="{EB67312A-9819-43C6-8D84-D9136E6CFFCC}"/>
          </ac:spMkLst>
        </pc:spChg>
        <pc:spChg chg="mod">
          <ac:chgData name="Daniel Valero" userId="31dd2ff7-9a08-462f-9096-6c487a317220" providerId="ADAL" clId="{8985719F-2960-467C-8373-8D4D9670E82F}" dt="2020-02-26T20:32:57.659" v="1636" actId="790"/>
          <ac:spMkLst>
            <pc:docMk/>
            <pc:sldMk cId="3702163554" sldId="630"/>
            <ac:spMk id="3" creationId="{F35E8CBB-5A7D-4DEF-BAF7-8DD5D042F9E0}"/>
          </ac:spMkLst>
        </pc:spChg>
        <pc:spChg chg="del">
          <ac:chgData name="Daniel Valero" userId="31dd2ff7-9a08-462f-9096-6c487a317220" providerId="ADAL" clId="{8985719F-2960-467C-8373-8D4D9670E82F}" dt="2020-02-26T20:26:41.229" v="1338" actId="478"/>
          <ac:spMkLst>
            <pc:docMk/>
            <pc:sldMk cId="3702163554" sldId="630"/>
            <ac:spMk id="4" creationId="{F3616A99-090F-45E1-9334-58D58B148205}"/>
          </ac:spMkLst>
        </pc:spChg>
        <pc:spChg chg="add">
          <ac:chgData name="Daniel Valero" userId="31dd2ff7-9a08-462f-9096-6c487a317220" providerId="ADAL" clId="{8985719F-2960-467C-8373-8D4D9670E82F}" dt="2020-02-26T20:29:00.294" v="1374"/>
          <ac:spMkLst>
            <pc:docMk/>
            <pc:sldMk cId="3702163554" sldId="630"/>
            <ac:spMk id="9" creationId="{3A9327ED-1ECA-4361-83C4-918400E9A99E}"/>
          </ac:spMkLst>
        </pc:spChg>
        <pc:spChg chg="add mod">
          <ac:chgData name="Daniel Valero" userId="31dd2ff7-9a08-462f-9096-6c487a317220" providerId="ADAL" clId="{8985719F-2960-467C-8373-8D4D9670E82F}" dt="2020-02-26T20:29:30.230" v="1387" actId="21"/>
          <ac:spMkLst>
            <pc:docMk/>
            <pc:sldMk cId="3702163554" sldId="630"/>
            <ac:spMk id="10" creationId="{45A8A4C5-0E3F-4E48-B3AE-5CC53F0F382E}"/>
          </ac:spMkLst>
        </pc:spChg>
        <pc:spChg chg="add">
          <ac:chgData name="Daniel Valero" userId="31dd2ff7-9a08-462f-9096-6c487a317220" providerId="ADAL" clId="{8985719F-2960-467C-8373-8D4D9670E82F}" dt="2020-02-26T20:29:00.294" v="1374"/>
          <ac:spMkLst>
            <pc:docMk/>
            <pc:sldMk cId="3702163554" sldId="630"/>
            <ac:spMk id="11" creationId="{24F242C0-652B-4ED4-9554-B59090434842}"/>
          </ac:spMkLst>
        </pc:spChg>
        <pc:spChg chg="add mod">
          <ac:chgData name="Daniel Valero" userId="31dd2ff7-9a08-462f-9096-6c487a317220" providerId="ADAL" clId="{8985719F-2960-467C-8373-8D4D9670E82F}" dt="2020-02-26T20:29:22.275" v="1381" actId="21"/>
          <ac:spMkLst>
            <pc:docMk/>
            <pc:sldMk cId="3702163554" sldId="630"/>
            <ac:spMk id="12" creationId="{3E433D2A-203E-4693-8CCD-AED201E44C23}"/>
          </ac:spMkLst>
        </pc:spChg>
        <pc:spChg chg="add mod">
          <ac:chgData name="Daniel Valero" userId="31dd2ff7-9a08-462f-9096-6c487a317220" providerId="ADAL" clId="{8985719F-2960-467C-8373-8D4D9670E82F}" dt="2020-02-26T20:32:59.848" v="1637" actId="6549"/>
          <ac:spMkLst>
            <pc:docMk/>
            <pc:sldMk cId="3702163554" sldId="630"/>
            <ac:spMk id="13" creationId="{885F2BFB-4471-4E46-BB83-F9FEC705CDC9}"/>
          </ac:spMkLst>
        </pc:spChg>
        <pc:grpChg chg="add del mod">
          <ac:chgData name="Daniel Valero" userId="31dd2ff7-9a08-462f-9096-6c487a317220" providerId="ADAL" clId="{8985719F-2960-467C-8373-8D4D9670E82F}" dt="2020-02-26T20:29:34.226" v="1391" actId="478"/>
          <ac:grpSpMkLst>
            <pc:docMk/>
            <pc:sldMk cId="3702163554" sldId="630"/>
            <ac:grpSpMk id="7" creationId="{190B53CE-8254-494F-AE1C-1828F51627FB}"/>
          </ac:grpSpMkLst>
        </pc:grpChg>
        <pc:grpChg chg="add del mod">
          <ac:chgData name="Daniel Valero" userId="31dd2ff7-9a08-462f-9096-6c487a317220" providerId="ADAL" clId="{8985719F-2960-467C-8373-8D4D9670E82F}" dt="2020-02-26T20:29:34.644" v="1392" actId="478"/>
          <ac:grpSpMkLst>
            <pc:docMk/>
            <pc:sldMk cId="3702163554" sldId="630"/>
            <ac:grpSpMk id="8" creationId="{8F556EB8-53CA-4838-95BF-456EA02A36A0}"/>
          </ac:grpSpMkLst>
        </pc:grpChg>
        <pc:graphicFrameChg chg="add del mod">
          <ac:chgData name="Daniel Valero" userId="31dd2ff7-9a08-462f-9096-6c487a317220" providerId="ADAL" clId="{8985719F-2960-467C-8373-8D4D9670E82F}" dt="2020-02-26T20:28:57.625" v="1373" actId="478"/>
          <ac:graphicFrameMkLst>
            <pc:docMk/>
            <pc:sldMk cId="3702163554" sldId="630"/>
            <ac:graphicFrameMk id="5" creationId="{A4C0AA26-FED2-4D1C-81D3-E0AD48DD8274}"/>
          </ac:graphicFrameMkLst>
        </pc:graphicFrameChg>
        <pc:picChg chg="add mod">
          <ac:chgData name="Daniel Valero" userId="31dd2ff7-9a08-462f-9096-6c487a317220" providerId="ADAL" clId="{8985719F-2960-467C-8373-8D4D9670E82F}" dt="2020-02-26T20:29:40.558" v="1396" actId="1076"/>
          <ac:picMkLst>
            <pc:docMk/>
            <pc:sldMk cId="3702163554" sldId="630"/>
            <ac:picMk id="6" creationId="{3E011ADC-9AED-4A4A-A6ED-0A60F49999A4}"/>
          </ac:picMkLst>
        </pc:picChg>
      </pc:sldChg>
      <pc:sldChg chg="addSp delSp modSp mod">
        <pc:chgData name="Daniel Valero" userId="31dd2ff7-9a08-462f-9096-6c487a317220" providerId="ADAL" clId="{8985719F-2960-467C-8373-8D4D9670E82F}" dt="2020-02-26T21:14:28.286" v="2269"/>
        <pc:sldMkLst>
          <pc:docMk/>
          <pc:sldMk cId="1732971809" sldId="631"/>
        </pc:sldMkLst>
        <pc:spChg chg="mod">
          <ac:chgData name="Daniel Valero" userId="31dd2ff7-9a08-462f-9096-6c487a317220" providerId="ADAL" clId="{8985719F-2960-467C-8373-8D4D9670E82F}" dt="2020-02-26T21:14:20.068" v="2267"/>
          <ac:spMkLst>
            <pc:docMk/>
            <pc:sldMk cId="1732971809" sldId="631"/>
            <ac:spMk id="3" creationId="{F35E8CBB-5A7D-4DEF-BAF7-8DD5D042F9E0}"/>
          </ac:spMkLst>
        </pc:spChg>
        <pc:spChg chg="del mod">
          <ac:chgData name="Daniel Valero" userId="31dd2ff7-9a08-462f-9096-6c487a317220" providerId="ADAL" clId="{8985719F-2960-467C-8373-8D4D9670E82F}" dt="2020-02-26T21:14:04.695" v="2266"/>
          <ac:spMkLst>
            <pc:docMk/>
            <pc:sldMk cId="1732971809" sldId="631"/>
            <ac:spMk id="4" creationId="{F3616A99-090F-45E1-9334-58D58B148205}"/>
          </ac:spMkLst>
        </pc:spChg>
        <pc:spChg chg="add del">
          <ac:chgData name="Daniel Valero" userId="31dd2ff7-9a08-462f-9096-6c487a317220" providerId="ADAL" clId="{8985719F-2960-467C-8373-8D4D9670E82F}" dt="2020-02-26T21:14:28.286" v="2269"/>
          <ac:spMkLst>
            <pc:docMk/>
            <pc:sldMk cId="1732971809" sldId="631"/>
            <ac:spMk id="6" creationId="{4DD58FCE-EF64-4500-96D6-5F31A44168E8}"/>
          </ac:spMkLst>
        </pc:spChg>
        <pc:graphicFrameChg chg="add">
          <ac:chgData name="Daniel Valero" userId="31dd2ff7-9a08-462f-9096-6c487a317220" providerId="ADAL" clId="{8985719F-2960-467C-8373-8D4D9670E82F}" dt="2020-02-26T21:14:04.695" v="2266"/>
          <ac:graphicFrameMkLst>
            <pc:docMk/>
            <pc:sldMk cId="1732971809" sldId="631"/>
            <ac:graphicFrameMk id="5" creationId="{4B6F0E6F-291B-46F9-BE67-DC7BF90065BB}"/>
          </ac:graphicFrameMkLst>
        </pc:graphicFrameChg>
      </pc:sldChg>
      <pc:sldChg chg="addSp delSp modSp mod ord modNotesTx">
        <pc:chgData name="Daniel Valero" userId="31dd2ff7-9a08-462f-9096-6c487a317220" providerId="ADAL" clId="{8985719F-2960-467C-8373-8D4D9670E82F}" dt="2020-02-26T21:04:41.528" v="2260" actId="20577"/>
        <pc:sldMkLst>
          <pc:docMk/>
          <pc:sldMk cId="2857195574" sldId="632"/>
        </pc:sldMkLst>
        <pc:spChg chg="mod">
          <ac:chgData name="Daniel Valero" userId="31dd2ff7-9a08-462f-9096-6c487a317220" providerId="ADAL" clId="{8985719F-2960-467C-8373-8D4D9670E82F}" dt="2020-02-26T20:56:28.775" v="2025" actId="20577"/>
          <ac:spMkLst>
            <pc:docMk/>
            <pc:sldMk cId="2857195574" sldId="632"/>
            <ac:spMk id="3" creationId="{F35E8CBB-5A7D-4DEF-BAF7-8DD5D042F9E0}"/>
          </ac:spMkLst>
        </pc:spChg>
        <pc:spChg chg="del">
          <ac:chgData name="Daniel Valero" userId="31dd2ff7-9a08-462f-9096-6c487a317220" providerId="ADAL" clId="{8985719F-2960-467C-8373-8D4D9670E82F}" dt="2020-02-26T20:50:58.361" v="1640" actId="3680"/>
          <ac:spMkLst>
            <pc:docMk/>
            <pc:sldMk cId="2857195574" sldId="632"/>
            <ac:spMk id="4" creationId="{F3616A99-090F-45E1-9334-58D58B148205}"/>
          </ac:spMkLst>
        </pc:spChg>
        <pc:spChg chg="add mod">
          <ac:chgData name="Daniel Valero" userId="31dd2ff7-9a08-462f-9096-6c487a317220" providerId="ADAL" clId="{8985719F-2960-467C-8373-8D4D9670E82F}" dt="2020-02-26T21:00:58.975" v="2165"/>
          <ac:spMkLst>
            <pc:docMk/>
            <pc:sldMk cId="2857195574" sldId="632"/>
            <ac:spMk id="7" creationId="{F95FA022-1EDE-4EA0-925E-37D66916E572}"/>
          </ac:spMkLst>
        </pc:spChg>
        <pc:spChg chg="add del mod ord">
          <ac:chgData name="Daniel Valero" userId="31dd2ff7-9a08-462f-9096-6c487a317220" providerId="ADAL" clId="{8985719F-2960-467C-8373-8D4D9670E82F}" dt="2020-02-26T21:02:08.668" v="2188" actId="478"/>
          <ac:spMkLst>
            <pc:docMk/>
            <pc:sldMk cId="2857195574" sldId="632"/>
            <ac:spMk id="9" creationId="{03108860-14F1-47F1-8624-843687577642}"/>
          </ac:spMkLst>
        </pc:spChg>
        <pc:graphicFrameChg chg="add del mod ord modGraphic">
          <ac:chgData name="Daniel Valero" userId="31dd2ff7-9a08-462f-9096-6c487a317220" providerId="ADAL" clId="{8985719F-2960-467C-8373-8D4D9670E82F}" dt="2020-02-26T21:00:25.229" v="2155" actId="478"/>
          <ac:graphicFrameMkLst>
            <pc:docMk/>
            <pc:sldMk cId="2857195574" sldId="632"/>
            <ac:graphicFrameMk id="5" creationId="{961B656D-7A10-4D2C-BAAA-438A84589E6A}"/>
          </ac:graphicFrameMkLst>
        </pc:graphicFrameChg>
        <pc:graphicFrameChg chg="add mod modGraphic">
          <ac:chgData name="Daniel Valero" userId="31dd2ff7-9a08-462f-9096-6c487a317220" providerId="ADAL" clId="{8985719F-2960-467C-8373-8D4D9670E82F}" dt="2020-02-26T21:04:06.794" v="2211" actId="1076"/>
          <ac:graphicFrameMkLst>
            <pc:docMk/>
            <pc:sldMk cId="2857195574" sldId="632"/>
            <ac:graphicFrameMk id="10" creationId="{75AC7946-B543-4AC6-BEEB-2081C063A73D}"/>
          </ac:graphicFrameMkLst>
        </pc:graphicFrameChg>
      </pc:sldChg>
      <pc:sldChg chg="modSp mod modNotesTx">
        <pc:chgData name="Daniel Valero" userId="31dd2ff7-9a08-462f-9096-6c487a317220" providerId="ADAL" clId="{8985719F-2960-467C-8373-8D4D9670E82F}" dt="2020-02-26T19:20:39.690" v="104" actId="20577"/>
        <pc:sldMkLst>
          <pc:docMk/>
          <pc:sldMk cId="466097575" sldId="633"/>
        </pc:sldMkLst>
        <pc:spChg chg="mod">
          <ac:chgData name="Daniel Valero" userId="31dd2ff7-9a08-462f-9096-6c487a317220" providerId="ADAL" clId="{8985719F-2960-467C-8373-8D4D9670E82F}" dt="2020-02-26T19:20:39.690" v="104" actId="20577"/>
          <ac:spMkLst>
            <pc:docMk/>
            <pc:sldMk cId="466097575" sldId="633"/>
            <ac:spMk id="8" creationId="{D4E53F4A-1426-4587-A994-2539692BA5CD}"/>
          </ac:spMkLst>
        </pc:spChg>
        <pc:picChg chg="mod">
          <ac:chgData name="Daniel Valero" userId="31dd2ff7-9a08-462f-9096-6c487a317220" providerId="ADAL" clId="{8985719F-2960-467C-8373-8D4D9670E82F}" dt="2020-02-26T19:16:52.100" v="23" actId="1076"/>
          <ac:picMkLst>
            <pc:docMk/>
            <pc:sldMk cId="466097575" sldId="633"/>
            <ac:picMk id="1026" creationId="{7BF95E3C-D2EE-4E98-95D1-748526FEC2AB}"/>
          </ac:picMkLst>
        </pc:picChg>
      </pc:sldChg>
      <pc:sldChg chg="modSp add mod">
        <pc:chgData name="Daniel Valero" userId="31dd2ff7-9a08-462f-9096-6c487a317220" providerId="ADAL" clId="{8985719F-2960-467C-8373-8D4D9670E82F}" dt="2020-02-26T20:01:06.410" v="1079" actId="20577"/>
        <pc:sldMkLst>
          <pc:docMk/>
          <pc:sldMk cId="1566102222" sldId="634"/>
        </pc:sldMkLst>
        <pc:spChg chg="mod">
          <ac:chgData name="Daniel Valero" userId="31dd2ff7-9a08-462f-9096-6c487a317220" providerId="ADAL" clId="{8985719F-2960-467C-8373-8D4D9670E82F}" dt="2020-02-26T19:23:39.791" v="119"/>
          <ac:spMkLst>
            <pc:docMk/>
            <pc:sldMk cId="1566102222" sldId="634"/>
            <ac:spMk id="2" creationId="{EB67312A-9819-43C6-8D84-D9136E6CFFCC}"/>
          </ac:spMkLst>
        </pc:spChg>
        <pc:spChg chg="mod">
          <ac:chgData name="Daniel Valero" userId="31dd2ff7-9a08-462f-9096-6c487a317220" providerId="ADAL" clId="{8985719F-2960-467C-8373-8D4D9670E82F}" dt="2020-02-26T20:01:06.410" v="1079" actId="20577"/>
          <ac:spMkLst>
            <pc:docMk/>
            <pc:sldMk cId="1566102222" sldId="634"/>
            <ac:spMk id="4" creationId="{F3616A99-090F-45E1-9334-58D58B148205}"/>
          </ac:spMkLst>
        </pc:spChg>
        <pc:spChg chg="mod">
          <ac:chgData name="Daniel Valero" userId="31dd2ff7-9a08-462f-9096-6c487a317220" providerId="ADAL" clId="{8985719F-2960-467C-8373-8D4D9670E82F}" dt="2020-02-26T19:29:39.276" v="319" actId="552"/>
          <ac:spMkLst>
            <pc:docMk/>
            <pc:sldMk cId="1566102222" sldId="634"/>
            <ac:spMk id="6" creationId="{F8842B6B-AD6C-401F-904D-7A4A505688DB}"/>
          </ac:spMkLst>
        </pc:spChg>
        <pc:spChg chg="mod">
          <ac:chgData name="Daniel Valero" userId="31dd2ff7-9a08-462f-9096-6c487a317220" providerId="ADAL" clId="{8985719F-2960-467C-8373-8D4D9670E82F}" dt="2020-02-26T19:29:39.276" v="319" actId="552"/>
          <ac:spMkLst>
            <pc:docMk/>
            <pc:sldMk cId="1566102222" sldId="634"/>
            <ac:spMk id="8" creationId="{63B9B722-F161-4DC3-9B99-6703E07B34E0}"/>
          </ac:spMkLst>
        </pc:spChg>
        <pc:spChg chg="mod">
          <ac:chgData name="Daniel Valero" userId="31dd2ff7-9a08-462f-9096-6c487a317220" providerId="ADAL" clId="{8985719F-2960-467C-8373-8D4D9670E82F}" dt="2020-02-26T19:33:22.460" v="444" actId="14100"/>
          <ac:spMkLst>
            <pc:docMk/>
            <pc:sldMk cId="1566102222" sldId="634"/>
            <ac:spMk id="9" creationId="{C1C8E9F5-5846-45F0-9E02-D14844D69038}"/>
          </ac:spMkLst>
        </pc:spChg>
        <pc:spChg chg="mod">
          <ac:chgData name="Daniel Valero" userId="31dd2ff7-9a08-462f-9096-6c487a317220" providerId="ADAL" clId="{8985719F-2960-467C-8373-8D4D9670E82F}" dt="2020-02-26T19:28:39.886" v="238" actId="20577"/>
          <ac:spMkLst>
            <pc:docMk/>
            <pc:sldMk cId="1566102222" sldId="634"/>
            <ac:spMk id="11" creationId="{FFAAFCAB-7AC9-4807-ACDA-4668ED10F3AF}"/>
          </ac:spMkLst>
        </pc:spChg>
      </pc:sldChg>
      <pc:sldChg chg="addSp delSp modSp add mod modNotesTx">
        <pc:chgData name="Daniel Valero" userId="31dd2ff7-9a08-462f-9096-6c487a317220" providerId="ADAL" clId="{8985719F-2960-467C-8373-8D4D9670E82F}" dt="2020-02-26T20:31:10.239" v="1540" actId="20577"/>
        <pc:sldMkLst>
          <pc:docMk/>
          <pc:sldMk cId="2202610295" sldId="635"/>
        </pc:sldMkLst>
        <pc:spChg chg="mod">
          <ac:chgData name="Daniel Valero" userId="31dd2ff7-9a08-462f-9096-6c487a317220" providerId="ADAL" clId="{8985719F-2960-467C-8373-8D4D9670E82F}" dt="2020-02-26T19:24:09.526" v="122"/>
          <ac:spMkLst>
            <pc:docMk/>
            <pc:sldMk cId="2202610295" sldId="635"/>
            <ac:spMk id="2" creationId="{EB67312A-9819-43C6-8D84-D9136E6CFFCC}"/>
          </ac:spMkLst>
        </pc:spChg>
        <pc:spChg chg="del mod">
          <ac:chgData name="Daniel Valero" userId="31dd2ff7-9a08-462f-9096-6c487a317220" providerId="ADAL" clId="{8985719F-2960-467C-8373-8D4D9670E82F}" dt="2020-02-26T19:31:13.761" v="403" actId="478"/>
          <ac:spMkLst>
            <pc:docMk/>
            <pc:sldMk cId="2202610295" sldId="635"/>
            <ac:spMk id="4" creationId="{F3616A99-090F-45E1-9334-58D58B148205}"/>
          </ac:spMkLst>
        </pc:spChg>
        <pc:graphicFrameChg chg="add mod modGraphic">
          <ac:chgData name="Daniel Valero" userId="31dd2ff7-9a08-462f-9096-6c487a317220" providerId="ADAL" clId="{8985719F-2960-467C-8373-8D4D9670E82F}" dt="2020-02-26T20:31:10.239" v="1540" actId="20577"/>
          <ac:graphicFrameMkLst>
            <pc:docMk/>
            <pc:sldMk cId="2202610295" sldId="635"/>
            <ac:graphicFrameMk id="5" creationId="{85FCFEA5-76C0-481C-AAC4-2ED55A37454B}"/>
          </ac:graphicFrameMkLst>
        </pc:graphicFrameChg>
        <pc:picChg chg="mod">
          <ac:chgData name="Daniel Valero" userId="31dd2ff7-9a08-462f-9096-6c487a317220" providerId="ADAL" clId="{8985719F-2960-467C-8373-8D4D9670E82F}" dt="2020-02-26T19:32:41.896" v="441" actId="1076"/>
          <ac:picMkLst>
            <pc:docMk/>
            <pc:sldMk cId="2202610295" sldId="635"/>
            <ac:picMk id="5122" creationId="{2ABF4842-E9EB-4F95-AFC3-C83F1B5607BD}"/>
          </ac:picMkLst>
        </pc:picChg>
      </pc:sldChg>
      <pc:sldChg chg="modSp add mod">
        <pc:chgData name="Daniel Valero" userId="31dd2ff7-9a08-462f-9096-6c487a317220" providerId="ADAL" clId="{8985719F-2960-467C-8373-8D4D9670E82F}" dt="2020-02-26T20:01:13.560" v="1081"/>
        <pc:sldMkLst>
          <pc:docMk/>
          <pc:sldMk cId="2109418391" sldId="636"/>
        </pc:sldMkLst>
        <pc:spChg chg="mod">
          <ac:chgData name="Daniel Valero" userId="31dd2ff7-9a08-462f-9096-6c487a317220" providerId="ADAL" clId="{8985719F-2960-467C-8373-8D4D9670E82F}" dt="2020-02-26T19:47:16.436" v="778"/>
          <ac:spMkLst>
            <pc:docMk/>
            <pc:sldMk cId="2109418391" sldId="636"/>
            <ac:spMk id="2" creationId="{EB67312A-9819-43C6-8D84-D9136E6CFFCC}"/>
          </ac:spMkLst>
        </pc:spChg>
        <pc:spChg chg="mod">
          <ac:chgData name="Daniel Valero" userId="31dd2ff7-9a08-462f-9096-6c487a317220" providerId="ADAL" clId="{8985719F-2960-467C-8373-8D4D9670E82F}" dt="2020-02-26T20:01:13.560" v="1081"/>
          <ac:spMkLst>
            <pc:docMk/>
            <pc:sldMk cId="2109418391" sldId="636"/>
            <ac:spMk id="4" creationId="{F3616A99-090F-45E1-9334-58D58B148205}"/>
          </ac:spMkLst>
        </pc:spChg>
        <pc:spChg chg="mod">
          <ac:chgData name="Daniel Valero" userId="31dd2ff7-9a08-462f-9096-6c487a317220" providerId="ADAL" clId="{8985719F-2960-467C-8373-8D4D9670E82F}" dt="2020-02-26T19:47:35.805" v="780"/>
          <ac:spMkLst>
            <pc:docMk/>
            <pc:sldMk cId="2109418391" sldId="636"/>
            <ac:spMk id="6" creationId="{F8842B6B-AD6C-401F-904D-7A4A505688DB}"/>
          </ac:spMkLst>
        </pc:spChg>
        <pc:spChg chg="mod">
          <ac:chgData name="Daniel Valero" userId="31dd2ff7-9a08-462f-9096-6c487a317220" providerId="ADAL" clId="{8985719F-2960-467C-8373-8D4D9670E82F}" dt="2020-02-26T19:47:47.653" v="781"/>
          <ac:spMkLst>
            <pc:docMk/>
            <pc:sldMk cId="2109418391" sldId="636"/>
            <ac:spMk id="8" creationId="{63B9B722-F161-4DC3-9B99-6703E07B34E0}"/>
          </ac:spMkLst>
        </pc:spChg>
        <pc:spChg chg="mod">
          <ac:chgData name="Daniel Valero" userId="31dd2ff7-9a08-462f-9096-6c487a317220" providerId="ADAL" clId="{8985719F-2960-467C-8373-8D4D9670E82F}" dt="2020-02-26T19:48:05.773" v="782"/>
          <ac:spMkLst>
            <pc:docMk/>
            <pc:sldMk cId="2109418391" sldId="636"/>
            <ac:spMk id="9" creationId="{C1C8E9F5-5846-45F0-9E02-D14844D69038}"/>
          </ac:spMkLst>
        </pc:spChg>
        <pc:spChg chg="mod">
          <ac:chgData name="Daniel Valero" userId="31dd2ff7-9a08-462f-9096-6c487a317220" providerId="ADAL" clId="{8985719F-2960-467C-8373-8D4D9670E82F}" dt="2020-02-26T19:59:24.495" v="991" actId="20577"/>
          <ac:spMkLst>
            <pc:docMk/>
            <pc:sldMk cId="2109418391" sldId="636"/>
            <ac:spMk id="11" creationId="{FFAAFCAB-7AC9-4807-ACDA-4668ED10F3AF}"/>
          </ac:spMkLst>
        </pc:spChg>
      </pc:sldChg>
      <pc:sldChg chg="addSp delSp modSp add mod">
        <pc:chgData name="Daniel Valero" userId="31dd2ff7-9a08-462f-9096-6c487a317220" providerId="ADAL" clId="{8985719F-2960-467C-8373-8D4D9670E82F}" dt="2020-02-26T20:22:58.630" v="1320" actId="20577"/>
        <pc:sldMkLst>
          <pc:docMk/>
          <pc:sldMk cId="877878254" sldId="637"/>
        </pc:sldMkLst>
        <pc:spChg chg="mod">
          <ac:chgData name="Daniel Valero" userId="31dd2ff7-9a08-462f-9096-6c487a317220" providerId="ADAL" clId="{8985719F-2960-467C-8373-8D4D9670E82F}" dt="2020-02-26T20:00:08.001" v="1051" actId="790"/>
          <ac:spMkLst>
            <pc:docMk/>
            <pc:sldMk cId="877878254" sldId="637"/>
            <ac:spMk id="2" creationId="{EB67312A-9819-43C6-8D84-D9136E6CFFCC}"/>
          </ac:spMkLst>
        </pc:spChg>
        <pc:spChg chg="mod">
          <ac:chgData name="Daniel Valero" userId="31dd2ff7-9a08-462f-9096-6c487a317220" providerId="ADAL" clId="{8985719F-2960-467C-8373-8D4D9670E82F}" dt="2020-02-26T20:00:43.748" v="1059" actId="6549"/>
          <ac:spMkLst>
            <pc:docMk/>
            <pc:sldMk cId="877878254" sldId="637"/>
            <ac:spMk id="3" creationId="{F35E8CBB-5A7D-4DEF-BAF7-8DD5D042F9E0}"/>
          </ac:spMkLst>
        </pc:spChg>
        <pc:spChg chg="del">
          <ac:chgData name="Daniel Valero" userId="31dd2ff7-9a08-462f-9096-6c487a317220" providerId="ADAL" clId="{8985719F-2960-467C-8373-8D4D9670E82F}" dt="2020-02-26T20:00:00.673" v="1049" actId="478"/>
          <ac:spMkLst>
            <pc:docMk/>
            <pc:sldMk cId="877878254" sldId="637"/>
            <ac:spMk id="4" creationId="{F3616A99-090F-45E1-9334-58D58B148205}"/>
          </ac:spMkLst>
        </pc:spChg>
        <pc:spChg chg="add mod">
          <ac:chgData name="Daniel Valero" userId="31dd2ff7-9a08-462f-9096-6c487a317220" providerId="ADAL" clId="{8985719F-2960-467C-8373-8D4D9670E82F}" dt="2020-02-26T20:22:58.630" v="1320" actId="20577"/>
          <ac:spMkLst>
            <pc:docMk/>
            <pc:sldMk cId="877878254" sldId="637"/>
            <ac:spMk id="5" creationId="{1AD8A9F0-64D5-48AF-A056-EB187C5F6CEC}"/>
          </ac:spMkLst>
        </pc:spChg>
        <pc:spChg chg="add mod">
          <ac:chgData name="Daniel Valero" userId="31dd2ff7-9a08-462f-9096-6c487a317220" providerId="ADAL" clId="{8985719F-2960-467C-8373-8D4D9670E82F}" dt="2020-02-26T20:02:30.387" v="1086" actId="14100"/>
          <ac:spMkLst>
            <pc:docMk/>
            <pc:sldMk cId="877878254" sldId="637"/>
            <ac:spMk id="6" creationId="{1299D8ED-9125-42F0-BC98-71AC4A50AC72}"/>
          </ac:spMkLst>
        </pc:spChg>
        <pc:spChg chg="add mod">
          <ac:chgData name="Daniel Valero" userId="31dd2ff7-9a08-462f-9096-6c487a317220" providerId="ADAL" clId="{8985719F-2960-467C-8373-8D4D9670E82F}" dt="2020-02-26T20:02:49.038" v="1087"/>
          <ac:spMkLst>
            <pc:docMk/>
            <pc:sldMk cId="877878254" sldId="637"/>
            <ac:spMk id="7" creationId="{35E21671-58AB-46FA-8C84-E2DBA2787BCF}"/>
          </ac:spMkLst>
        </pc:spChg>
        <pc:spChg chg="add mod">
          <ac:chgData name="Daniel Valero" userId="31dd2ff7-9a08-462f-9096-6c487a317220" providerId="ADAL" clId="{8985719F-2960-467C-8373-8D4D9670E82F}" dt="2020-02-26T20:03:01.828" v="1088"/>
          <ac:spMkLst>
            <pc:docMk/>
            <pc:sldMk cId="877878254" sldId="637"/>
            <ac:spMk id="8" creationId="{08AF5E7D-8C05-4C56-84A2-4EDBD776ECBB}"/>
          </ac:spMkLst>
        </pc:spChg>
      </pc:sldChg>
      <pc:sldChg chg="delSp modSp add mod">
        <pc:chgData name="Daniel Valero" userId="31dd2ff7-9a08-462f-9096-6c487a317220" providerId="ADAL" clId="{8985719F-2960-467C-8373-8D4D9670E82F}" dt="2020-02-26T20:24:15.563" v="1337"/>
        <pc:sldMkLst>
          <pc:docMk/>
          <pc:sldMk cId="2014377657" sldId="638"/>
        </pc:sldMkLst>
        <pc:spChg chg="mod">
          <ac:chgData name="Daniel Valero" userId="31dd2ff7-9a08-462f-9096-6c487a317220" providerId="ADAL" clId="{8985719F-2960-467C-8373-8D4D9670E82F}" dt="2020-02-26T20:23:10.922" v="1324" actId="20577"/>
          <ac:spMkLst>
            <pc:docMk/>
            <pc:sldMk cId="2014377657" sldId="638"/>
            <ac:spMk id="2" creationId="{EB67312A-9819-43C6-8D84-D9136E6CFFCC}"/>
          </ac:spMkLst>
        </pc:spChg>
        <pc:spChg chg="mod">
          <ac:chgData name="Daniel Valero" userId="31dd2ff7-9a08-462f-9096-6c487a317220" providerId="ADAL" clId="{8985719F-2960-467C-8373-8D4D9670E82F}" dt="2020-02-26T20:23:52.414" v="1333" actId="6549"/>
          <ac:spMkLst>
            <pc:docMk/>
            <pc:sldMk cId="2014377657" sldId="638"/>
            <ac:spMk id="5" creationId="{1AD8A9F0-64D5-48AF-A056-EB187C5F6CEC}"/>
          </ac:spMkLst>
        </pc:spChg>
        <pc:spChg chg="mod">
          <ac:chgData name="Daniel Valero" userId="31dd2ff7-9a08-462f-9096-6c487a317220" providerId="ADAL" clId="{8985719F-2960-467C-8373-8D4D9670E82F}" dt="2020-02-26T20:23:49.509" v="1331" actId="1076"/>
          <ac:spMkLst>
            <pc:docMk/>
            <pc:sldMk cId="2014377657" sldId="638"/>
            <ac:spMk id="6" creationId="{1299D8ED-9125-42F0-BC98-71AC4A50AC72}"/>
          </ac:spMkLst>
        </pc:spChg>
        <pc:spChg chg="del">
          <ac:chgData name="Daniel Valero" userId="31dd2ff7-9a08-462f-9096-6c487a317220" providerId="ADAL" clId="{8985719F-2960-467C-8373-8D4D9670E82F}" dt="2020-02-26T20:23:43.494" v="1329" actId="478"/>
          <ac:spMkLst>
            <pc:docMk/>
            <pc:sldMk cId="2014377657" sldId="638"/>
            <ac:spMk id="7" creationId="{35E21671-58AB-46FA-8C84-E2DBA2787BCF}"/>
          </ac:spMkLst>
        </pc:spChg>
        <pc:spChg chg="mod">
          <ac:chgData name="Daniel Valero" userId="31dd2ff7-9a08-462f-9096-6c487a317220" providerId="ADAL" clId="{8985719F-2960-467C-8373-8D4D9670E82F}" dt="2020-02-26T20:24:15.563" v="1337"/>
          <ac:spMkLst>
            <pc:docMk/>
            <pc:sldMk cId="2014377657" sldId="638"/>
            <ac:spMk id="8" creationId="{08AF5E7D-8C05-4C56-84A2-4EDBD776ECBB}"/>
          </ac:spMkLst>
        </pc:spChg>
      </pc:sldChg>
      <pc:sldChg chg="modSp add mod">
        <pc:chgData name="Daniel Valero" userId="31dd2ff7-9a08-462f-9096-6c487a317220" providerId="ADAL" clId="{8985719F-2960-467C-8373-8D4D9670E82F}" dt="2020-02-26T20:58:43.756" v="2140"/>
        <pc:sldMkLst>
          <pc:docMk/>
          <pc:sldMk cId="3484407754" sldId="639"/>
        </pc:sldMkLst>
        <pc:spChg chg="mod">
          <ac:chgData name="Daniel Valero" userId="31dd2ff7-9a08-462f-9096-6c487a317220" providerId="ADAL" clId="{8985719F-2960-467C-8373-8D4D9670E82F}" dt="2020-02-26T20:57:12.059" v="2029"/>
          <ac:spMkLst>
            <pc:docMk/>
            <pc:sldMk cId="3484407754" sldId="639"/>
            <ac:spMk id="2" creationId="{EB67312A-9819-43C6-8D84-D9136E6CFFCC}"/>
          </ac:spMkLst>
        </pc:spChg>
        <pc:spChg chg="mod">
          <ac:chgData name="Daniel Valero" userId="31dd2ff7-9a08-462f-9096-6c487a317220" providerId="ADAL" clId="{8985719F-2960-467C-8373-8D4D9670E82F}" dt="2020-02-26T20:57:22.509" v="2032"/>
          <ac:spMkLst>
            <pc:docMk/>
            <pc:sldMk cId="3484407754" sldId="639"/>
            <ac:spMk id="3" creationId="{F35E8CBB-5A7D-4DEF-BAF7-8DD5D042F9E0}"/>
          </ac:spMkLst>
        </pc:spChg>
        <pc:spChg chg="mod">
          <ac:chgData name="Daniel Valero" userId="31dd2ff7-9a08-462f-9096-6c487a317220" providerId="ADAL" clId="{8985719F-2960-467C-8373-8D4D9670E82F}" dt="2020-02-26T20:57:39.088" v="2033"/>
          <ac:spMkLst>
            <pc:docMk/>
            <pc:sldMk cId="3484407754" sldId="639"/>
            <ac:spMk id="6" creationId="{1299D8ED-9125-42F0-BC98-71AC4A50AC72}"/>
          </ac:spMkLst>
        </pc:spChg>
        <pc:spChg chg="mod">
          <ac:chgData name="Daniel Valero" userId="31dd2ff7-9a08-462f-9096-6c487a317220" providerId="ADAL" clId="{8985719F-2960-467C-8373-8D4D9670E82F}" dt="2020-02-26T20:58:43.756" v="2140"/>
          <ac:spMkLst>
            <pc:docMk/>
            <pc:sldMk cId="3484407754" sldId="639"/>
            <ac:spMk id="8" creationId="{08AF5E7D-8C05-4C56-84A2-4EDBD776ECBB}"/>
          </ac:spMkLst>
        </pc:spChg>
      </pc:sldChg>
      <pc:sldChg chg="addSp delSp modSp add mod modNotesTx">
        <pc:chgData name="Daniel Valero" userId="31dd2ff7-9a08-462f-9096-6c487a317220" providerId="ADAL" clId="{8985719F-2960-467C-8373-8D4D9670E82F}" dt="2020-02-26T21:22:07.919" v="2411" actId="12"/>
        <pc:sldMkLst>
          <pc:docMk/>
          <pc:sldMk cId="2502654232" sldId="640"/>
        </pc:sldMkLst>
        <pc:spChg chg="mod">
          <ac:chgData name="Daniel Valero" userId="31dd2ff7-9a08-462f-9096-6c487a317220" providerId="ADAL" clId="{8985719F-2960-467C-8373-8D4D9670E82F}" dt="2020-02-26T21:17:06.563" v="2278" actId="20577"/>
          <ac:spMkLst>
            <pc:docMk/>
            <pc:sldMk cId="2502654232" sldId="640"/>
            <ac:spMk id="3" creationId="{F35E8CBB-5A7D-4DEF-BAF7-8DD5D042F9E0}"/>
          </ac:spMkLst>
        </pc:spChg>
        <pc:spChg chg="add mod">
          <ac:chgData name="Daniel Valero" userId="31dd2ff7-9a08-462f-9096-6c487a317220" providerId="ADAL" clId="{8985719F-2960-467C-8373-8D4D9670E82F}" dt="2020-02-26T21:19:13.903" v="2346" actId="20577"/>
          <ac:spMkLst>
            <pc:docMk/>
            <pc:sldMk cId="2502654232" sldId="640"/>
            <ac:spMk id="6" creationId="{B2DA85DE-71D1-48B3-823A-E1808778A06F}"/>
          </ac:spMkLst>
        </pc:spChg>
        <pc:graphicFrameChg chg="del mod">
          <ac:chgData name="Daniel Valero" userId="31dd2ff7-9a08-462f-9096-6c487a317220" providerId="ADAL" clId="{8985719F-2960-467C-8373-8D4D9670E82F}" dt="2020-02-26T21:17:10.892" v="2281" actId="478"/>
          <ac:graphicFrameMkLst>
            <pc:docMk/>
            <pc:sldMk cId="2502654232" sldId="640"/>
            <ac:graphicFrameMk id="5" creationId="{4B6F0E6F-291B-46F9-BE67-DC7BF90065BB}"/>
          </ac:graphicFrameMkLst>
        </pc:graphicFrameChg>
      </pc:sldChg>
      <pc:sldChg chg="modSp add mod">
        <pc:chgData name="Daniel Valero" userId="31dd2ff7-9a08-462f-9096-6c487a317220" providerId="ADAL" clId="{8985719F-2960-467C-8373-8D4D9670E82F}" dt="2020-02-26T21:21:29.623" v="2356" actId="14100"/>
        <pc:sldMkLst>
          <pc:docMk/>
          <pc:sldMk cId="3277872637" sldId="641"/>
        </pc:sldMkLst>
        <pc:spChg chg="mod">
          <ac:chgData name="Daniel Valero" userId="31dd2ff7-9a08-462f-9096-6c487a317220" providerId="ADAL" clId="{8985719F-2960-467C-8373-8D4D9670E82F}" dt="2020-02-26T21:20:45.446" v="2348"/>
          <ac:spMkLst>
            <pc:docMk/>
            <pc:sldMk cId="3277872637" sldId="641"/>
            <ac:spMk id="2" creationId="{EB67312A-9819-43C6-8D84-D9136E6CFFCC}"/>
          </ac:spMkLst>
        </pc:spChg>
        <pc:spChg chg="mod">
          <ac:chgData name="Daniel Valero" userId="31dd2ff7-9a08-462f-9096-6c487a317220" providerId="ADAL" clId="{8985719F-2960-467C-8373-8D4D9670E82F}" dt="2020-02-26T21:20:48.367" v="2349"/>
          <ac:spMkLst>
            <pc:docMk/>
            <pc:sldMk cId="3277872637" sldId="641"/>
            <ac:spMk id="3" creationId="{F35E8CBB-5A7D-4DEF-BAF7-8DD5D042F9E0}"/>
          </ac:spMkLst>
        </pc:spChg>
        <pc:spChg chg="mod">
          <ac:chgData name="Daniel Valero" userId="31dd2ff7-9a08-462f-9096-6c487a317220" providerId="ADAL" clId="{8985719F-2960-467C-8373-8D4D9670E82F}" dt="2020-02-26T21:21:03.331" v="2350"/>
          <ac:spMkLst>
            <pc:docMk/>
            <pc:sldMk cId="3277872637" sldId="641"/>
            <ac:spMk id="6" creationId="{1299D8ED-9125-42F0-BC98-71AC4A50AC72}"/>
          </ac:spMkLst>
        </pc:spChg>
        <pc:spChg chg="mod">
          <ac:chgData name="Daniel Valero" userId="31dd2ff7-9a08-462f-9096-6c487a317220" providerId="ADAL" clId="{8985719F-2960-467C-8373-8D4D9670E82F}" dt="2020-02-26T21:21:29.623" v="2356" actId="14100"/>
          <ac:spMkLst>
            <pc:docMk/>
            <pc:sldMk cId="3277872637" sldId="641"/>
            <ac:spMk id="8" creationId="{08AF5E7D-8C05-4C56-84A2-4EDBD776ECBB}"/>
          </ac:spMkLst>
        </pc:spChg>
      </pc:sldChg>
      <pc:sldChg chg="modSp add">
        <pc:chgData name="Daniel Valero" userId="31dd2ff7-9a08-462f-9096-6c487a317220" providerId="ADAL" clId="{8985719F-2960-467C-8373-8D4D9670E82F}" dt="2020-02-26T21:24:49.572" v="2416"/>
        <pc:sldMkLst>
          <pc:docMk/>
          <pc:sldMk cId="3560969285" sldId="642"/>
        </pc:sldMkLst>
        <pc:spChg chg="mod">
          <ac:chgData name="Daniel Valero" userId="31dd2ff7-9a08-462f-9096-6c487a317220" providerId="ADAL" clId="{8985719F-2960-467C-8373-8D4D9670E82F}" dt="2020-02-26T21:24:02.628" v="2413"/>
          <ac:spMkLst>
            <pc:docMk/>
            <pc:sldMk cId="3560969285" sldId="642"/>
            <ac:spMk id="2" creationId="{EB67312A-9819-43C6-8D84-D9136E6CFFCC}"/>
          </ac:spMkLst>
        </pc:spChg>
        <pc:spChg chg="mod">
          <ac:chgData name="Daniel Valero" userId="31dd2ff7-9a08-462f-9096-6c487a317220" providerId="ADAL" clId="{8985719F-2960-467C-8373-8D4D9670E82F}" dt="2020-02-26T21:24:06.292" v="2414"/>
          <ac:spMkLst>
            <pc:docMk/>
            <pc:sldMk cId="3560969285" sldId="642"/>
            <ac:spMk id="3" creationId="{F35E8CBB-5A7D-4DEF-BAF7-8DD5D042F9E0}"/>
          </ac:spMkLst>
        </pc:spChg>
        <pc:spChg chg="mod">
          <ac:chgData name="Daniel Valero" userId="31dd2ff7-9a08-462f-9096-6c487a317220" providerId="ADAL" clId="{8985719F-2960-467C-8373-8D4D9670E82F}" dt="2020-02-26T21:24:36.419" v="2415"/>
          <ac:spMkLst>
            <pc:docMk/>
            <pc:sldMk cId="3560969285" sldId="642"/>
            <ac:spMk id="6" creationId="{1299D8ED-9125-42F0-BC98-71AC4A50AC72}"/>
          </ac:spMkLst>
        </pc:spChg>
        <pc:spChg chg="mod">
          <ac:chgData name="Daniel Valero" userId="31dd2ff7-9a08-462f-9096-6c487a317220" providerId="ADAL" clId="{8985719F-2960-467C-8373-8D4D9670E82F}" dt="2020-02-26T21:24:49.572" v="2416"/>
          <ac:spMkLst>
            <pc:docMk/>
            <pc:sldMk cId="3560969285" sldId="642"/>
            <ac:spMk id="8" creationId="{08AF5E7D-8C05-4C56-84A2-4EDBD776ECBB}"/>
          </ac:spMkLst>
        </pc:spChg>
      </pc:sldChg>
    </pc:docChg>
  </pc:docChgLst>
  <pc:docChgLst>
    <pc:chgData name="Batuhan Yildiz" userId="90f344fc-4655-4923-aeaf-697bba59c1a7" providerId="ADAL" clId="{BE881843-838A-4FE4-8BD1-6A58786358E3}"/>
    <pc:docChg chg="undo custSel modSld">
      <pc:chgData name="Batuhan Yildiz" userId="90f344fc-4655-4923-aeaf-697bba59c1a7" providerId="ADAL" clId="{BE881843-838A-4FE4-8BD1-6A58786358E3}" dt="2020-04-06T16:21:31.858" v="135" actId="20577"/>
      <pc:docMkLst>
        <pc:docMk/>
      </pc:docMkLst>
      <pc:sldChg chg="modNotesTx">
        <pc:chgData name="Batuhan Yildiz" userId="90f344fc-4655-4923-aeaf-697bba59c1a7" providerId="ADAL" clId="{BE881843-838A-4FE4-8BD1-6A58786358E3}" dt="2020-04-06T16:17:28.787" v="105"/>
        <pc:sldMkLst>
          <pc:docMk/>
          <pc:sldMk cId="4267675391" sldId="531"/>
        </pc:sldMkLst>
      </pc:sldChg>
      <pc:sldChg chg="modSp mod modNotesTx">
        <pc:chgData name="Batuhan Yildiz" userId="90f344fc-4655-4923-aeaf-697bba59c1a7" providerId="ADAL" clId="{BE881843-838A-4FE4-8BD1-6A58786358E3}" dt="2020-04-06T16:18:07.306" v="110"/>
        <pc:sldMkLst>
          <pc:docMk/>
          <pc:sldMk cId="670385602" sldId="567"/>
        </pc:sldMkLst>
        <pc:spChg chg="mod">
          <ac:chgData name="Batuhan Yildiz" userId="90f344fc-4655-4923-aeaf-697bba59c1a7" providerId="ADAL" clId="{BE881843-838A-4FE4-8BD1-6A58786358E3}" dt="2020-04-03T22:17:47.921" v="51" actId="113"/>
          <ac:spMkLst>
            <pc:docMk/>
            <pc:sldMk cId="670385602" sldId="567"/>
            <ac:spMk id="6" creationId="{637E159C-9ACF-48AE-927A-D5FB13695C7F}"/>
          </ac:spMkLst>
        </pc:spChg>
      </pc:sldChg>
      <pc:sldChg chg="modNotesTx">
        <pc:chgData name="Batuhan Yildiz" userId="90f344fc-4655-4923-aeaf-697bba59c1a7" providerId="ADAL" clId="{BE881843-838A-4FE4-8BD1-6A58786358E3}" dt="2020-04-06T16:18:33.490" v="114" actId="20577"/>
        <pc:sldMkLst>
          <pc:docMk/>
          <pc:sldMk cId="2147177822" sldId="568"/>
        </pc:sldMkLst>
      </pc:sldChg>
      <pc:sldChg chg="modSp mod modNotesTx">
        <pc:chgData name="Batuhan Yildiz" userId="90f344fc-4655-4923-aeaf-697bba59c1a7" providerId="ADAL" clId="{BE881843-838A-4FE4-8BD1-6A58786358E3}" dt="2020-04-06T16:19:32.469" v="119"/>
        <pc:sldMkLst>
          <pc:docMk/>
          <pc:sldMk cId="1487953619" sldId="574"/>
        </pc:sldMkLst>
        <pc:spChg chg="mod">
          <ac:chgData name="Batuhan Yildiz" userId="90f344fc-4655-4923-aeaf-697bba59c1a7" providerId="ADAL" clId="{BE881843-838A-4FE4-8BD1-6A58786358E3}" dt="2020-04-03T22:37:50.833" v="73" actId="113"/>
          <ac:spMkLst>
            <pc:docMk/>
            <pc:sldMk cId="1487953619" sldId="574"/>
            <ac:spMk id="6" creationId="{637E159C-9ACF-48AE-927A-D5FB13695C7F}"/>
          </ac:spMkLst>
        </pc:spChg>
      </pc:sldChg>
      <pc:sldChg chg="modNotesTx">
        <pc:chgData name="Batuhan Yildiz" userId="90f344fc-4655-4923-aeaf-697bba59c1a7" providerId="ADAL" clId="{BE881843-838A-4FE4-8BD1-6A58786358E3}" dt="2020-04-06T16:19:56.299" v="123" actId="20577"/>
        <pc:sldMkLst>
          <pc:docMk/>
          <pc:sldMk cId="3563492871" sldId="575"/>
        </pc:sldMkLst>
      </pc:sldChg>
      <pc:sldChg chg="modSp mod modNotesTx">
        <pc:chgData name="Batuhan Yildiz" userId="90f344fc-4655-4923-aeaf-697bba59c1a7" providerId="ADAL" clId="{BE881843-838A-4FE4-8BD1-6A58786358E3}" dt="2020-04-06T16:21:04.976" v="129"/>
        <pc:sldMkLst>
          <pc:docMk/>
          <pc:sldMk cId="3006523152" sldId="581"/>
        </pc:sldMkLst>
        <pc:spChg chg="mod">
          <ac:chgData name="Batuhan Yildiz" userId="90f344fc-4655-4923-aeaf-697bba59c1a7" providerId="ADAL" clId="{BE881843-838A-4FE4-8BD1-6A58786358E3}" dt="2020-04-03T22:57:45.309" v="96" actId="113"/>
          <ac:spMkLst>
            <pc:docMk/>
            <pc:sldMk cId="3006523152" sldId="581"/>
            <ac:spMk id="6" creationId="{637E159C-9ACF-48AE-927A-D5FB13695C7F}"/>
          </ac:spMkLst>
        </pc:spChg>
      </pc:sldChg>
      <pc:sldChg chg="modNotesTx">
        <pc:chgData name="Batuhan Yildiz" userId="90f344fc-4655-4923-aeaf-697bba59c1a7" providerId="ADAL" clId="{BE881843-838A-4FE4-8BD1-6A58786358E3}" dt="2020-04-06T16:21:31.858" v="135" actId="20577"/>
        <pc:sldMkLst>
          <pc:docMk/>
          <pc:sldMk cId="1528516655" sldId="582"/>
        </pc:sldMkLst>
      </pc:sldChg>
    </pc:docChg>
  </pc:docChgLst>
  <pc:docChgLst>
    <pc:chgData name="Daniel Valero" userId="31dd2ff7-9a08-462f-9096-6c487a317220" providerId="ADAL" clId="{E3A37A5D-BCC8-40BA-B9FE-E25EAACD2C53}"/>
    <pc:docChg chg="custSel modSld">
      <pc:chgData name="Daniel Valero" userId="31dd2ff7-9a08-462f-9096-6c487a317220" providerId="ADAL" clId="{E3A37A5D-BCC8-40BA-B9FE-E25EAACD2C53}" dt="2020-03-06T22:29:39.250" v="706" actId="20577"/>
      <pc:docMkLst>
        <pc:docMk/>
      </pc:docMkLst>
      <pc:sldChg chg="modSp modNotesTx">
        <pc:chgData name="Daniel Valero" userId="31dd2ff7-9a08-462f-9096-6c487a317220" providerId="ADAL" clId="{E3A37A5D-BCC8-40BA-B9FE-E25EAACD2C53}" dt="2020-03-06T22:29:39.250" v="706" actId="20577"/>
        <pc:sldMkLst>
          <pc:docMk/>
          <pc:sldMk cId="2444463328" sldId="584"/>
        </pc:sldMkLst>
        <pc:graphicFrameChg chg="mod">
          <ac:chgData name="Daniel Valero" userId="31dd2ff7-9a08-462f-9096-6c487a317220" providerId="ADAL" clId="{E3A37A5D-BCC8-40BA-B9FE-E25EAACD2C53}" dt="2020-03-06T22:29:30.187" v="692" actId="108"/>
          <ac:graphicFrameMkLst>
            <pc:docMk/>
            <pc:sldMk cId="2444463328" sldId="584"/>
            <ac:graphicFrameMk id="3" creationId="{9484E1FE-7534-495E-863C-657A46F5E628}"/>
          </ac:graphicFrameMkLst>
        </pc:graphicFrameChg>
      </pc:sldChg>
    </pc:docChg>
  </pc:docChgLst>
  <pc:docChgLst>
    <pc:chgData name="Batuhan Yildiz" userId="90f344fc-4655-4923-aeaf-697bba59c1a7" providerId="ADAL" clId="{87DB180F-4425-42B0-B965-9D8AA7885E90}"/>
    <pc:docChg chg="modSld">
      <pc:chgData name="Batuhan Yildiz" userId="90f344fc-4655-4923-aeaf-697bba59c1a7" providerId="ADAL" clId="{87DB180F-4425-42B0-B965-9D8AA7885E90}" dt="2020-05-20T21:38:33.996" v="3" actId="20577"/>
      <pc:docMkLst>
        <pc:docMk/>
      </pc:docMkLst>
      <pc:sldChg chg="modNotesTx">
        <pc:chgData name="Batuhan Yildiz" userId="90f344fc-4655-4923-aeaf-697bba59c1a7" providerId="ADAL" clId="{87DB180F-4425-42B0-B965-9D8AA7885E90}" dt="2020-05-20T21:38:33.996" v="3" actId="20577"/>
        <pc:sldMkLst>
          <pc:docMk/>
          <pc:sldMk cId="3363990098" sldId="623"/>
        </pc:sldMkLst>
      </pc:sldChg>
    </pc:docChg>
  </pc:docChgLst>
  <pc:docChgLst>
    <pc:chgData name="Daniel Valero" userId="31dd2ff7-9a08-462f-9096-6c487a317220" providerId="ADAL" clId="{98459006-41D5-49D9-BF27-3385987949AA}"/>
    <pc:docChg chg="undo redo custSel addSld delSld modSld sldOrd modSection">
      <pc:chgData name="Daniel Valero" userId="31dd2ff7-9a08-462f-9096-6c487a317220" providerId="ADAL" clId="{98459006-41D5-49D9-BF27-3385987949AA}" dt="2020-02-26T22:17:22.521" v="836" actId="14100"/>
      <pc:docMkLst>
        <pc:docMk/>
      </pc:docMkLst>
      <pc:sldChg chg="modSp mod">
        <pc:chgData name="Daniel Valero" userId="31dd2ff7-9a08-462f-9096-6c487a317220" providerId="ADAL" clId="{98459006-41D5-49D9-BF27-3385987949AA}" dt="2020-02-26T22:14:03.752" v="815" actId="14100"/>
        <pc:sldMkLst>
          <pc:docMk/>
          <pc:sldMk cId="4221783869" sldId="566"/>
        </pc:sldMkLst>
        <pc:graphicFrameChg chg="mod">
          <ac:chgData name="Daniel Valero" userId="31dd2ff7-9a08-462f-9096-6c487a317220" providerId="ADAL" clId="{98459006-41D5-49D9-BF27-3385987949AA}" dt="2020-02-26T22:14:03.752" v="815" actId="14100"/>
          <ac:graphicFrameMkLst>
            <pc:docMk/>
            <pc:sldMk cId="4221783869" sldId="566"/>
            <ac:graphicFrameMk id="9" creationId="{C7E54BA4-B9D5-4384-9A0F-2BBF5913642C}"/>
          </ac:graphicFrameMkLst>
        </pc:graphicFrameChg>
      </pc:sldChg>
      <pc:sldChg chg="addSp delSp modSp mod delAnim modAnim modNotesTx">
        <pc:chgData name="Daniel Valero" userId="31dd2ff7-9a08-462f-9096-6c487a317220" providerId="ADAL" clId="{98459006-41D5-49D9-BF27-3385987949AA}" dt="2020-02-26T22:13:33.844" v="813" actId="790"/>
        <pc:sldMkLst>
          <pc:docMk/>
          <pc:sldMk cId="2735926192" sldId="604"/>
        </pc:sldMkLst>
        <pc:spChg chg="del mod">
          <ac:chgData name="Daniel Valero" userId="31dd2ff7-9a08-462f-9096-6c487a317220" providerId="ADAL" clId="{98459006-41D5-49D9-BF27-3385987949AA}" dt="2020-02-26T22:10:42.427" v="711" actId="478"/>
          <ac:spMkLst>
            <pc:docMk/>
            <pc:sldMk cId="2735926192" sldId="604"/>
            <ac:spMk id="4" creationId="{F3616A99-090F-45E1-9334-58D58B148205}"/>
          </ac:spMkLst>
        </pc:spChg>
        <pc:spChg chg="add del mod">
          <ac:chgData name="Daniel Valero" userId="31dd2ff7-9a08-462f-9096-6c487a317220" providerId="ADAL" clId="{98459006-41D5-49D9-BF27-3385987949AA}" dt="2020-02-26T22:10:47.266" v="712" actId="478"/>
          <ac:spMkLst>
            <pc:docMk/>
            <pc:sldMk cId="2735926192" sldId="604"/>
            <ac:spMk id="11" creationId="{281DA40E-7ECE-4595-93E8-041AD41184A7}"/>
          </ac:spMkLst>
        </pc:spChg>
        <pc:spChg chg="mod">
          <ac:chgData name="Daniel Valero" userId="31dd2ff7-9a08-462f-9096-6c487a317220" providerId="ADAL" clId="{98459006-41D5-49D9-BF27-3385987949AA}" dt="2020-02-26T22:10:09.576" v="706" actId="164"/>
          <ac:spMkLst>
            <pc:docMk/>
            <pc:sldMk cId="2735926192" sldId="604"/>
            <ac:spMk id="13" creationId="{5B7DF837-0C24-42B8-928B-750588EBDEC9}"/>
          </ac:spMkLst>
        </pc:spChg>
        <pc:spChg chg="mod">
          <ac:chgData name="Daniel Valero" userId="31dd2ff7-9a08-462f-9096-6c487a317220" providerId="ADAL" clId="{98459006-41D5-49D9-BF27-3385987949AA}" dt="2020-02-26T22:10:15.088" v="707" actId="164"/>
          <ac:spMkLst>
            <pc:docMk/>
            <pc:sldMk cId="2735926192" sldId="604"/>
            <ac:spMk id="14" creationId="{AC33A00B-92E8-4F4A-A59B-2167D150465F}"/>
          </ac:spMkLst>
        </pc:spChg>
        <pc:spChg chg="mod">
          <ac:chgData name="Daniel Valero" userId="31dd2ff7-9a08-462f-9096-6c487a317220" providerId="ADAL" clId="{98459006-41D5-49D9-BF27-3385987949AA}" dt="2020-02-26T22:11:37.893" v="737" actId="164"/>
          <ac:spMkLst>
            <pc:docMk/>
            <pc:sldMk cId="2735926192" sldId="604"/>
            <ac:spMk id="15" creationId="{F6B21E68-22ED-42CE-A607-124E6FC9E037}"/>
          </ac:spMkLst>
        </pc:spChg>
        <pc:spChg chg="mod">
          <ac:chgData name="Daniel Valero" userId="31dd2ff7-9a08-462f-9096-6c487a317220" providerId="ADAL" clId="{98459006-41D5-49D9-BF27-3385987949AA}" dt="2020-02-26T22:11:41.859" v="738" actId="164"/>
          <ac:spMkLst>
            <pc:docMk/>
            <pc:sldMk cId="2735926192" sldId="604"/>
            <ac:spMk id="16" creationId="{EB1BF4A3-52C8-480D-8FED-F6FF4CAC78E8}"/>
          </ac:spMkLst>
        </pc:spChg>
        <pc:spChg chg="mod">
          <ac:chgData name="Daniel Valero" userId="31dd2ff7-9a08-462f-9096-6c487a317220" providerId="ADAL" clId="{98459006-41D5-49D9-BF27-3385987949AA}" dt="2020-02-26T22:10:30.857" v="709" actId="164"/>
          <ac:spMkLst>
            <pc:docMk/>
            <pc:sldMk cId="2735926192" sldId="604"/>
            <ac:spMk id="17" creationId="{7FFB5D7E-C651-4E65-A76B-C48470F09858}"/>
          </ac:spMkLst>
        </pc:spChg>
        <pc:spChg chg="mod">
          <ac:chgData name="Daniel Valero" userId="31dd2ff7-9a08-462f-9096-6c487a317220" providerId="ADAL" clId="{98459006-41D5-49D9-BF27-3385987949AA}" dt="2020-02-26T22:10:26.828" v="708" actId="164"/>
          <ac:spMkLst>
            <pc:docMk/>
            <pc:sldMk cId="2735926192" sldId="604"/>
            <ac:spMk id="18" creationId="{B04BB3DC-29AA-456A-AB33-D415DFC9D159}"/>
          </ac:spMkLst>
        </pc:spChg>
        <pc:spChg chg="mod">
          <ac:chgData name="Daniel Valero" userId="31dd2ff7-9a08-462f-9096-6c487a317220" providerId="ADAL" clId="{98459006-41D5-49D9-BF27-3385987949AA}" dt="2020-02-26T22:10:34.848" v="710" actId="164"/>
          <ac:spMkLst>
            <pc:docMk/>
            <pc:sldMk cId="2735926192" sldId="604"/>
            <ac:spMk id="20" creationId="{C321B790-A42B-4615-8886-FB1C9171170D}"/>
          </ac:spMkLst>
        </pc:spChg>
        <pc:spChg chg="mod">
          <ac:chgData name="Daniel Valero" userId="31dd2ff7-9a08-462f-9096-6c487a317220" providerId="ADAL" clId="{98459006-41D5-49D9-BF27-3385987949AA}" dt="2020-02-26T22:11:45.036" v="739" actId="164"/>
          <ac:spMkLst>
            <pc:docMk/>
            <pc:sldMk cId="2735926192" sldId="604"/>
            <ac:spMk id="22" creationId="{64A2DB2D-2637-4A54-9C7F-F159894633E7}"/>
          </ac:spMkLst>
        </pc:spChg>
        <pc:spChg chg="mod">
          <ac:chgData name="Daniel Valero" userId="31dd2ff7-9a08-462f-9096-6c487a317220" providerId="ADAL" clId="{98459006-41D5-49D9-BF27-3385987949AA}" dt="2020-02-26T22:11:47.840" v="740" actId="164"/>
          <ac:spMkLst>
            <pc:docMk/>
            <pc:sldMk cId="2735926192" sldId="604"/>
            <ac:spMk id="31" creationId="{97CF827F-3129-4966-941B-B55A2806656C}"/>
          </ac:spMkLst>
        </pc:spChg>
        <pc:spChg chg="mod">
          <ac:chgData name="Daniel Valero" userId="31dd2ff7-9a08-462f-9096-6c487a317220" providerId="ADAL" clId="{98459006-41D5-49D9-BF27-3385987949AA}" dt="2020-02-26T22:11:53.944" v="741" actId="164"/>
          <ac:spMkLst>
            <pc:docMk/>
            <pc:sldMk cId="2735926192" sldId="604"/>
            <ac:spMk id="32" creationId="{D86B479E-C635-4BC1-A62C-461B394A5888}"/>
          </ac:spMkLst>
        </pc:spChg>
        <pc:spChg chg="mod">
          <ac:chgData name="Daniel Valero" userId="31dd2ff7-9a08-462f-9096-6c487a317220" providerId="ADAL" clId="{98459006-41D5-49D9-BF27-3385987949AA}" dt="2020-02-26T22:11:58.320" v="742" actId="164"/>
          <ac:spMkLst>
            <pc:docMk/>
            <pc:sldMk cId="2735926192" sldId="604"/>
            <ac:spMk id="33" creationId="{0DAC354D-F668-4AD1-BB17-9233443A4DC2}"/>
          </ac:spMkLst>
        </pc:spChg>
        <pc:spChg chg="add mod">
          <ac:chgData name="Daniel Valero" userId="31dd2ff7-9a08-462f-9096-6c487a317220" providerId="ADAL" clId="{98459006-41D5-49D9-BF27-3385987949AA}" dt="2020-02-26T22:11:11.812" v="733" actId="164"/>
          <ac:spMkLst>
            <pc:docMk/>
            <pc:sldMk cId="2735926192" sldId="604"/>
            <ac:spMk id="36" creationId="{6E8E5B06-2C01-4810-9941-2A322AE0F461}"/>
          </ac:spMkLst>
        </pc:spChg>
        <pc:grpChg chg="add mod">
          <ac:chgData name="Daniel Valero" userId="31dd2ff7-9a08-462f-9096-6c487a317220" providerId="ADAL" clId="{98459006-41D5-49D9-BF27-3385987949AA}" dt="2020-02-26T22:11:27.327" v="736" actId="465"/>
          <ac:grpSpMkLst>
            <pc:docMk/>
            <pc:sldMk cId="2735926192" sldId="604"/>
            <ac:grpSpMk id="5" creationId="{F0F7112D-E24F-4DBA-868D-469D58FB6FF7}"/>
          </ac:grpSpMkLst>
        </pc:grpChg>
        <pc:grpChg chg="add mod">
          <ac:chgData name="Daniel Valero" userId="31dd2ff7-9a08-462f-9096-6c487a317220" providerId="ADAL" clId="{98459006-41D5-49D9-BF27-3385987949AA}" dt="2020-02-26T22:11:27.327" v="736" actId="465"/>
          <ac:grpSpMkLst>
            <pc:docMk/>
            <pc:sldMk cId="2735926192" sldId="604"/>
            <ac:grpSpMk id="6" creationId="{CB3B7B55-5EE0-4DF8-A73E-B16A3A8389DF}"/>
          </ac:grpSpMkLst>
        </pc:grpChg>
        <pc:grpChg chg="add mod">
          <ac:chgData name="Daniel Valero" userId="31dd2ff7-9a08-462f-9096-6c487a317220" providerId="ADAL" clId="{98459006-41D5-49D9-BF27-3385987949AA}" dt="2020-02-26T22:11:27.327" v="736" actId="465"/>
          <ac:grpSpMkLst>
            <pc:docMk/>
            <pc:sldMk cId="2735926192" sldId="604"/>
            <ac:grpSpMk id="7" creationId="{8ED64774-DC35-43D4-8EFB-E164F814D55D}"/>
          </ac:grpSpMkLst>
        </pc:grpChg>
        <pc:grpChg chg="add mod">
          <ac:chgData name="Daniel Valero" userId="31dd2ff7-9a08-462f-9096-6c487a317220" providerId="ADAL" clId="{98459006-41D5-49D9-BF27-3385987949AA}" dt="2020-02-26T22:11:27.327" v="736" actId="465"/>
          <ac:grpSpMkLst>
            <pc:docMk/>
            <pc:sldMk cId="2735926192" sldId="604"/>
            <ac:grpSpMk id="8" creationId="{6AF95612-581F-407E-9087-9BB8A0426C40}"/>
          </ac:grpSpMkLst>
        </pc:grpChg>
        <pc:grpChg chg="add mod">
          <ac:chgData name="Daniel Valero" userId="31dd2ff7-9a08-462f-9096-6c487a317220" providerId="ADAL" clId="{98459006-41D5-49D9-BF27-3385987949AA}" dt="2020-02-26T22:11:27.327" v="736" actId="465"/>
          <ac:grpSpMkLst>
            <pc:docMk/>
            <pc:sldMk cId="2735926192" sldId="604"/>
            <ac:grpSpMk id="9" creationId="{267C3E52-AD07-43A7-982B-271DF45D09BA}"/>
          </ac:grpSpMkLst>
        </pc:grpChg>
        <pc:grpChg chg="add mod">
          <ac:chgData name="Daniel Valero" userId="31dd2ff7-9a08-462f-9096-6c487a317220" providerId="ADAL" clId="{98459006-41D5-49D9-BF27-3385987949AA}" dt="2020-02-26T22:11:27.327" v="736" actId="465"/>
          <ac:grpSpMkLst>
            <pc:docMk/>
            <pc:sldMk cId="2735926192" sldId="604"/>
            <ac:grpSpMk id="12" creationId="{C411CC39-74E5-4A7E-B112-4EC0D85D1F2F}"/>
          </ac:grpSpMkLst>
        </pc:grpChg>
        <pc:grpChg chg="add mod">
          <ac:chgData name="Daniel Valero" userId="31dd2ff7-9a08-462f-9096-6c487a317220" providerId="ADAL" clId="{98459006-41D5-49D9-BF27-3385987949AA}" dt="2020-02-26T22:12:24.512" v="745" actId="465"/>
          <ac:grpSpMkLst>
            <pc:docMk/>
            <pc:sldMk cId="2735926192" sldId="604"/>
            <ac:grpSpMk id="19" creationId="{1EDC6FEC-D99A-4BA5-AB1F-9D39AEA57B40}"/>
          </ac:grpSpMkLst>
        </pc:grpChg>
        <pc:grpChg chg="add mod">
          <ac:chgData name="Daniel Valero" userId="31dd2ff7-9a08-462f-9096-6c487a317220" providerId="ADAL" clId="{98459006-41D5-49D9-BF27-3385987949AA}" dt="2020-02-26T22:12:24.512" v="745" actId="465"/>
          <ac:grpSpMkLst>
            <pc:docMk/>
            <pc:sldMk cId="2735926192" sldId="604"/>
            <ac:grpSpMk id="21" creationId="{6CF57884-447D-4649-989B-ECF9230514EA}"/>
          </ac:grpSpMkLst>
        </pc:grpChg>
        <pc:grpChg chg="add mod">
          <ac:chgData name="Daniel Valero" userId="31dd2ff7-9a08-462f-9096-6c487a317220" providerId="ADAL" clId="{98459006-41D5-49D9-BF27-3385987949AA}" dt="2020-02-26T22:12:24.512" v="745" actId="465"/>
          <ac:grpSpMkLst>
            <pc:docMk/>
            <pc:sldMk cId="2735926192" sldId="604"/>
            <ac:grpSpMk id="23" creationId="{3F9E4E81-2B8D-4177-8648-201099D80467}"/>
          </ac:grpSpMkLst>
        </pc:grpChg>
        <pc:grpChg chg="add mod">
          <ac:chgData name="Daniel Valero" userId="31dd2ff7-9a08-462f-9096-6c487a317220" providerId="ADAL" clId="{98459006-41D5-49D9-BF27-3385987949AA}" dt="2020-02-26T22:12:24.512" v="745" actId="465"/>
          <ac:grpSpMkLst>
            <pc:docMk/>
            <pc:sldMk cId="2735926192" sldId="604"/>
            <ac:grpSpMk id="24" creationId="{88485792-F2D9-461E-AA27-50A159161417}"/>
          </ac:grpSpMkLst>
        </pc:grpChg>
        <pc:grpChg chg="add mod">
          <ac:chgData name="Daniel Valero" userId="31dd2ff7-9a08-462f-9096-6c487a317220" providerId="ADAL" clId="{98459006-41D5-49D9-BF27-3385987949AA}" dt="2020-02-26T22:12:24.512" v="745" actId="465"/>
          <ac:grpSpMkLst>
            <pc:docMk/>
            <pc:sldMk cId="2735926192" sldId="604"/>
            <ac:grpSpMk id="26" creationId="{D6472D49-011D-4162-8EEB-A9AC9FDD76A7}"/>
          </ac:grpSpMkLst>
        </pc:grpChg>
        <pc:grpChg chg="add mod">
          <ac:chgData name="Daniel Valero" userId="31dd2ff7-9a08-462f-9096-6c487a317220" providerId="ADAL" clId="{98459006-41D5-49D9-BF27-3385987949AA}" dt="2020-02-26T22:12:24.512" v="745" actId="465"/>
          <ac:grpSpMkLst>
            <pc:docMk/>
            <pc:sldMk cId="2735926192" sldId="604"/>
            <ac:grpSpMk id="30" creationId="{9EDF4A98-445D-4F83-9960-16985F28727D}"/>
          </ac:grpSpMkLst>
        </pc:grpChg>
        <pc:picChg chg="mod">
          <ac:chgData name="Daniel Valero" userId="31dd2ff7-9a08-462f-9096-6c487a317220" providerId="ADAL" clId="{98459006-41D5-49D9-BF27-3385987949AA}" dt="2020-02-26T22:11:53.944" v="741" actId="164"/>
          <ac:picMkLst>
            <pc:docMk/>
            <pc:sldMk cId="2735926192" sldId="604"/>
            <ac:picMk id="27" creationId="{40BDF551-8402-419C-AED0-07EA668E260D}"/>
          </ac:picMkLst>
        </pc:picChg>
        <pc:picChg chg="mod">
          <ac:chgData name="Daniel Valero" userId="31dd2ff7-9a08-462f-9096-6c487a317220" providerId="ADAL" clId="{98459006-41D5-49D9-BF27-3385987949AA}" dt="2020-02-26T22:11:47.840" v="740" actId="164"/>
          <ac:picMkLst>
            <pc:docMk/>
            <pc:sldMk cId="2735926192" sldId="604"/>
            <ac:picMk id="28" creationId="{E3E71F0F-1328-4B9B-B339-5F62F7307EE0}"/>
          </ac:picMkLst>
        </pc:picChg>
        <pc:picChg chg="mod">
          <ac:chgData name="Daniel Valero" userId="31dd2ff7-9a08-462f-9096-6c487a317220" providerId="ADAL" clId="{98459006-41D5-49D9-BF27-3385987949AA}" dt="2020-02-26T22:11:58.320" v="742" actId="164"/>
          <ac:picMkLst>
            <pc:docMk/>
            <pc:sldMk cId="2735926192" sldId="604"/>
            <ac:picMk id="29" creationId="{78457F7F-6403-4D74-B33C-984EBB69A751}"/>
          </ac:picMkLst>
        </pc:picChg>
        <pc:picChg chg="mod">
          <ac:chgData name="Daniel Valero" userId="31dd2ff7-9a08-462f-9096-6c487a317220" providerId="ADAL" clId="{98459006-41D5-49D9-BF27-3385987949AA}" dt="2020-02-26T22:10:09.576" v="706" actId="164"/>
          <ac:picMkLst>
            <pc:docMk/>
            <pc:sldMk cId="2735926192" sldId="604"/>
            <ac:picMk id="1028" creationId="{11D2FFA8-8159-4269-AABB-26626E73E9B9}"/>
          </ac:picMkLst>
        </pc:picChg>
        <pc:picChg chg="mod">
          <ac:chgData name="Daniel Valero" userId="31dd2ff7-9a08-462f-9096-6c487a317220" providerId="ADAL" clId="{98459006-41D5-49D9-BF27-3385987949AA}" dt="2020-02-26T22:10:15.088" v="707" actId="164"/>
          <ac:picMkLst>
            <pc:docMk/>
            <pc:sldMk cId="2735926192" sldId="604"/>
            <ac:picMk id="1030" creationId="{04594F46-8518-4FF4-B53B-6C810780F989}"/>
          </ac:picMkLst>
        </pc:picChg>
        <pc:picChg chg="mod">
          <ac:chgData name="Daniel Valero" userId="31dd2ff7-9a08-462f-9096-6c487a317220" providerId="ADAL" clId="{98459006-41D5-49D9-BF27-3385987949AA}" dt="2020-02-26T22:11:11.812" v="733" actId="164"/>
          <ac:picMkLst>
            <pc:docMk/>
            <pc:sldMk cId="2735926192" sldId="604"/>
            <ac:picMk id="1032" creationId="{F14E48FE-3B7E-41F9-A032-9F3CCB6F2ABB}"/>
          </ac:picMkLst>
        </pc:picChg>
        <pc:picChg chg="mod">
          <ac:chgData name="Daniel Valero" userId="31dd2ff7-9a08-462f-9096-6c487a317220" providerId="ADAL" clId="{98459006-41D5-49D9-BF27-3385987949AA}" dt="2020-02-26T22:11:37.893" v="737" actId="164"/>
          <ac:picMkLst>
            <pc:docMk/>
            <pc:sldMk cId="2735926192" sldId="604"/>
            <ac:picMk id="1034" creationId="{3E5C0A35-5AF5-4C72-B87A-845C0D7820C8}"/>
          </ac:picMkLst>
        </pc:picChg>
        <pc:picChg chg="mod">
          <ac:chgData name="Daniel Valero" userId="31dd2ff7-9a08-462f-9096-6c487a317220" providerId="ADAL" clId="{98459006-41D5-49D9-BF27-3385987949AA}" dt="2020-02-26T22:11:41.859" v="738" actId="164"/>
          <ac:picMkLst>
            <pc:docMk/>
            <pc:sldMk cId="2735926192" sldId="604"/>
            <ac:picMk id="1036" creationId="{A33C7D66-DC83-4F8A-A617-968722957AF5}"/>
          </ac:picMkLst>
        </pc:picChg>
        <pc:picChg chg="mod">
          <ac:chgData name="Daniel Valero" userId="31dd2ff7-9a08-462f-9096-6c487a317220" providerId="ADAL" clId="{98459006-41D5-49D9-BF27-3385987949AA}" dt="2020-02-26T22:10:26.828" v="708" actId="164"/>
          <ac:picMkLst>
            <pc:docMk/>
            <pc:sldMk cId="2735926192" sldId="604"/>
            <ac:picMk id="1038" creationId="{5C5E6286-5839-4D81-940B-CB68A66B6595}"/>
          </ac:picMkLst>
        </pc:picChg>
        <pc:picChg chg="mod">
          <ac:chgData name="Daniel Valero" userId="31dd2ff7-9a08-462f-9096-6c487a317220" providerId="ADAL" clId="{98459006-41D5-49D9-BF27-3385987949AA}" dt="2020-02-26T22:10:30.857" v="709" actId="164"/>
          <ac:picMkLst>
            <pc:docMk/>
            <pc:sldMk cId="2735926192" sldId="604"/>
            <ac:picMk id="1040" creationId="{55E7F75A-ED40-422A-977C-74663B0616D8}"/>
          </ac:picMkLst>
        </pc:picChg>
        <pc:picChg chg="mod">
          <ac:chgData name="Daniel Valero" userId="31dd2ff7-9a08-462f-9096-6c487a317220" providerId="ADAL" clId="{98459006-41D5-49D9-BF27-3385987949AA}" dt="2020-02-26T22:10:34.848" v="710" actId="164"/>
          <ac:picMkLst>
            <pc:docMk/>
            <pc:sldMk cId="2735926192" sldId="604"/>
            <ac:picMk id="1042" creationId="{A0B91962-D37F-450E-83EC-BEE4BF8D06B6}"/>
          </ac:picMkLst>
        </pc:picChg>
        <pc:picChg chg="mod">
          <ac:chgData name="Daniel Valero" userId="31dd2ff7-9a08-462f-9096-6c487a317220" providerId="ADAL" clId="{98459006-41D5-49D9-BF27-3385987949AA}" dt="2020-02-26T22:11:45.036" v="739" actId="164"/>
          <ac:picMkLst>
            <pc:docMk/>
            <pc:sldMk cId="2735926192" sldId="604"/>
            <ac:picMk id="1044" creationId="{2F608A90-F0A6-48F7-9B94-BDEB28F2AD01}"/>
          </ac:picMkLst>
        </pc:picChg>
      </pc:sldChg>
      <pc:sldChg chg="modSp">
        <pc:chgData name="Daniel Valero" userId="31dd2ff7-9a08-462f-9096-6c487a317220" providerId="ADAL" clId="{98459006-41D5-49D9-BF27-3385987949AA}" dt="2020-02-26T21:41:01.282" v="443"/>
        <pc:sldMkLst>
          <pc:docMk/>
          <pc:sldMk cId="2024360696" sldId="627"/>
        </pc:sldMkLst>
        <pc:spChg chg="mod">
          <ac:chgData name="Daniel Valero" userId="31dd2ff7-9a08-462f-9096-6c487a317220" providerId="ADAL" clId="{98459006-41D5-49D9-BF27-3385987949AA}" dt="2020-02-26T21:41:01.282" v="443"/>
          <ac:spMkLst>
            <pc:docMk/>
            <pc:sldMk cId="2024360696" sldId="627"/>
            <ac:spMk id="4" creationId="{F3616A99-090F-45E1-9334-58D58B148205}"/>
          </ac:spMkLst>
        </pc:spChg>
      </pc:sldChg>
      <pc:sldChg chg="modSp mod">
        <pc:chgData name="Daniel Valero" userId="31dd2ff7-9a08-462f-9096-6c487a317220" providerId="ADAL" clId="{98459006-41D5-49D9-BF27-3385987949AA}" dt="2020-02-26T22:17:22.521" v="836" actId="14100"/>
        <pc:sldMkLst>
          <pc:docMk/>
          <pc:sldMk cId="1732971809" sldId="631"/>
        </pc:sldMkLst>
        <pc:graphicFrameChg chg="mod">
          <ac:chgData name="Daniel Valero" userId="31dd2ff7-9a08-462f-9096-6c487a317220" providerId="ADAL" clId="{98459006-41D5-49D9-BF27-3385987949AA}" dt="2020-02-26T22:17:22.521" v="836" actId="14100"/>
          <ac:graphicFrameMkLst>
            <pc:docMk/>
            <pc:sldMk cId="1732971809" sldId="631"/>
            <ac:graphicFrameMk id="5" creationId="{4B6F0E6F-291B-46F9-BE67-DC7BF90065BB}"/>
          </ac:graphicFrameMkLst>
        </pc:graphicFrameChg>
      </pc:sldChg>
      <pc:sldChg chg="modSp mod">
        <pc:chgData name="Daniel Valero" userId="31dd2ff7-9a08-462f-9096-6c487a317220" providerId="ADAL" clId="{98459006-41D5-49D9-BF27-3385987949AA}" dt="2020-02-26T21:46:58.447" v="611" actId="6549"/>
        <pc:sldMkLst>
          <pc:docMk/>
          <pc:sldMk cId="1566102222" sldId="634"/>
        </pc:sldMkLst>
        <pc:spChg chg="mod">
          <ac:chgData name="Daniel Valero" userId="31dd2ff7-9a08-462f-9096-6c487a317220" providerId="ADAL" clId="{98459006-41D5-49D9-BF27-3385987949AA}" dt="2020-02-26T21:46:58.447" v="611" actId="6549"/>
          <ac:spMkLst>
            <pc:docMk/>
            <pc:sldMk cId="1566102222" sldId="634"/>
            <ac:spMk id="4" creationId="{F3616A99-090F-45E1-9334-58D58B148205}"/>
          </ac:spMkLst>
        </pc:spChg>
        <pc:spChg chg="mod">
          <ac:chgData name="Daniel Valero" userId="31dd2ff7-9a08-462f-9096-6c487a317220" providerId="ADAL" clId="{98459006-41D5-49D9-BF27-3385987949AA}" dt="2020-02-26T21:43:48.426" v="564" actId="1076"/>
          <ac:spMkLst>
            <pc:docMk/>
            <pc:sldMk cId="1566102222" sldId="634"/>
            <ac:spMk id="6" creationId="{F8842B6B-AD6C-401F-904D-7A4A505688DB}"/>
          </ac:spMkLst>
        </pc:spChg>
        <pc:spChg chg="mod">
          <ac:chgData name="Daniel Valero" userId="31dd2ff7-9a08-462f-9096-6c487a317220" providerId="ADAL" clId="{98459006-41D5-49D9-BF27-3385987949AA}" dt="2020-02-26T21:43:50.484" v="565" actId="1076"/>
          <ac:spMkLst>
            <pc:docMk/>
            <pc:sldMk cId="1566102222" sldId="634"/>
            <ac:spMk id="8" creationId="{63B9B722-F161-4DC3-9B99-6703E07B34E0}"/>
          </ac:spMkLst>
        </pc:spChg>
        <pc:spChg chg="mod">
          <ac:chgData name="Daniel Valero" userId="31dd2ff7-9a08-462f-9096-6c487a317220" providerId="ADAL" clId="{98459006-41D5-49D9-BF27-3385987949AA}" dt="2020-02-26T21:43:53.908" v="566" actId="1076"/>
          <ac:spMkLst>
            <pc:docMk/>
            <pc:sldMk cId="1566102222" sldId="634"/>
            <ac:spMk id="9" creationId="{C1C8E9F5-5846-45F0-9E02-D14844D69038}"/>
          </ac:spMkLst>
        </pc:spChg>
        <pc:spChg chg="mod">
          <ac:chgData name="Daniel Valero" userId="31dd2ff7-9a08-462f-9096-6c487a317220" providerId="ADAL" clId="{98459006-41D5-49D9-BF27-3385987949AA}" dt="2020-02-26T21:42:28.596" v="454" actId="20577"/>
          <ac:spMkLst>
            <pc:docMk/>
            <pc:sldMk cId="1566102222" sldId="634"/>
            <ac:spMk id="11" creationId="{FFAAFCAB-7AC9-4807-ACDA-4668ED10F3AF}"/>
          </ac:spMkLst>
        </pc:spChg>
      </pc:sldChg>
      <pc:sldChg chg="modSp mod">
        <pc:chgData name="Daniel Valero" userId="31dd2ff7-9a08-462f-9096-6c487a317220" providerId="ADAL" clId="{98459006-41D5-49D9-BF27-3385987949AA}" dt="2020-02-26T21:50:09.978" v="642"/>
        <pc:sldMkLst>
          <pc:docMk/>
          <pc:sldMk cId="2109418391" sldId="636"/>
        </pc:sldMkLst>
        <pc:spChg chg="mod">
          <ac:chgData name="Daniel Valero" userId="31dd2ff7-9a08-462f-9096-6c487a317220" providerId="ADAL" clId="{98459006-41D5-49D9-BF27-3385987949AA}" dt="2020-02-26T21:47:02.830" v="612" actId="6549"/>
          <ac:spMkLst>
            <pc:docMk/>
            <pc:sldMk cId="2109418391" sldId="636"/>
            <ac:spMk id="4" creationId="{F3616A99-090F-45E1-9334-58D58B148205}"/>
          </ac:spMkLst>
        </pc:spChg>
        <pc:spChg chg="mod">
          <ac:chgData name="Daniel Valero" userId="31dd2ff7-9a08-462f-9096-6c487a317220" providerId="ADAL" clId="{98459006-41D5-49D9-BF27-3385987949AA}" dt="2020-02-26T21:50:08.626" v="641"/>
          <ac:spMkLst>
            <pc:docMk/>
            <pc:sldMk cId="2109418391" sldId="636"/>
            <ac:spMk id="6" creationId="{F8842B6B-AD6C-401F-904D-7A4A505688DB}"/>
          </ac:spMkLst>
        </pc:spChg>
        <pc:spChg chg="mod">
          <ac:chgData name="Daniel Valero" userId="31dd2ff7-9a08-462f-9096-6c487a317220" providerId="ADAL" clId="{98459006-41D5-49D9-BF27-3385987949AA}" dt="2020-02-26T21:50:09.978" v="642"/>
          <ac:spMkLst>
            <pc:docMk/>
            <pc:sldMk cId="2109418391" sldId="636"/>
            <ac:spMk id="8" creationId="{63B9B722-F161-4DC3-9B99-6703E07B34E0}"/>
          </ac:spMkLst>
        </pc:spChg>
        <pc:spChg chg="mod">
          <ac:chgData name="Daniel Valero" userId="31dd2ff7-9a08-462f-9096-6c487a317220" providerId="ADAL" clId="{98459006-41D5-49D9-BF27-3385987949AA}" dt="2020-02-26T21:45:24.191" v="591" actId="1076"/>
          <ac:spMkLst>
            <pc:docMk/>
            <pc:sldMk cId="2109418391" sldId="636"/>
            <ac:spMk id="9" creationId="{C1C8E9F5-5846-45F0-9E02-D14844D69038}"/>
          </ac:spMkLst>
        </pc:spChg>
        <pc:spChg chg="mod">
          <ac:chgData name="Daniel Valero" userId="31dd2ff7-9a08-462f-9096-6c487a317220" providerId="ADAL" clId="{98459006-41D5-49D9-BF27-3385987949AA}" dt="2020-02-26T21:44:02.803" v="569" actId="20577"/>
          <ac:spMkLst>
            <pc:docMk/>
            <pc:sldMk cId="2109418391" sldId="636"/>
            <ac:spMk id="11" creationId="{FFAAFCAB-7AC9-4807-ACDA-4668ED10F3AF}"/>
          </ac:spMkLst>
        </pc:spChg>
      </pc:sldChg>
      <pc:sldChg chg="modSp mod ord">
        <pc:chgData name="Daniel Valero" userId="31dd2ff7-9a08-462f-9096-6c487a317220" providerId="ADAL" clId="{98459006-41D5-49D9-BF27-3385987949AA}" dt="2020-02-26T22:16:02.205" v="819" actId="1076"/>
        <pc:sldMkLst>
          <pc:docMk/>
          <pc:sldMk cId="877878254" sldId="637"/>
        </pc:sldMkLst>
        <pc:spChg chg="mod">
          <ac:chgData name="Daniel Valero" userId="31dd2ff7-9a08-462f-9096-6c487a317220" providerId="ADAL" clId="{98459006-41D5-49D9-BF27-3385987949AA}" dt="2020-02-26T21:44:09.888" v="571" actId="20577"/>
          <ac:spMkLst>
            <pc:docMk/>
            <pc:sldMk cId="877878254" sldId="637"/>
            <ac:spMk id="3" creationId="{F35E8CBB-5A7D-4DEF-BAF7-8DD5D042F9E0}"/>
          </ac:spMkLst>
        </pc:spChg>
        <pc:spChg chg="mod">
          <ac:chgData name="Daniel Valero" userId="31dd2ff7-9a08-462f-9096-6c487a317220" providerId="ADAL" clId="{98459006-41D5-49D9-BF27-3385987949AA}" dt="2020-02-26T22:15:59.208" v="818" actId="6549"/>
          <ac:spMkLst>
            <pc:docMk/>
            <pc:sldMk cId="877878254" sldId="637"/>
            <ac:spMk id="5" creationId="{1AD8A9F0-64D5-48AF-A056-EB187C5F6CEC}"/>
          </ac:spMkLst>
        </pc:spChg>
        <pc:spChg chg="mod">
          <ac:chgData name="Daniel Valero" userId="31dd2ff7-9a08-462f-9096-6c487a317220" providerId="ADAL" clId="{98459006-41D5-49D9-BF27-3385987949AA}" dt="2020-02-26T21:50:47.593" v="655" actId="14100"/>
          <ac:spMkLst>
            <pc:docMk/>
            <pc:sldMk cId="877878254" sldId="637"/>
            <ac:spMk id="6" creationId="{1299D8ED-9125-42F0-BC98-71AC4A50AC72}"/>
          </ac:spMkLst>
        </pc:spChg>
        <pc:spChg chg="mod">
          <ac:chgData name="Daniel Valero" userId="31dd2ff7-9a08-462f-9096-6c487a317220" providerId="ADAL" clId="{98459006-41D5-49D9-BF27-3385987949AA}" dt="2020-02-26T22:15:58.498" v="817" actId="1076"/>
          <ac:spMkLst>
            <pc:docMk/>
            <pc:sldMk cId="877878254" sldId="637"/>
            <ac:spMk id="7" creationId="{35E21671-58AB-46FA-8C84-E2DBA2787BCF}"/>
          </ac:spMkLst>
        </pc:spChg>
        <pc:spChg chg="mod">
          <ac:chgData name="Daniel Valero" userId="31dd2ff7-9a08-462f-9096-6c487a317220" providerId="ADAL" clId="{98459006-41D5-49D9-BF27-3385987949AA}" dt="2020-02-26T22:16:02.205" v="819" actId="1076"/>
          <ac:spMkLst>
            <pc:docMk/>
            <pc:sldMk cId="877878254" sldId="637"/>
            <ac:spMk id="8" creationId="{08AF5E7D-8C05-4C56-84A2-4EDBD776ECBB}"/>
          </ac:spMkLst>
        </pc:spChg>
      </pc:sldChg>
      <pc:sldChg chg="modSp mod">
        <pc:chgData name="Daniel Valero" userId="31dd2ff7-9a08-462f-9096-6c487a317220" providerId="ADAL" clId="{98459006-41D5-49D9-BF27-3385987949AA}" dt="2020-02-26T22:16:13.524" v="822" actId="1076"/>
        <pc:sldMkLst>
          <pc:docMk/>
          <pc:sldMk cId="2014377657" sldId="638"/>
        </pc:sldMkLst>
        <pc:spChg chg="mod">
          <ac:chgData name="Daniel Valero" userId="31dd2ff7-9a08-462f-9096-6c487a317220" providerId="ADAL" clId="{98459006-41D5-49D9-BF27-3385987949AA}" dt="2020-02-26T21:44:13.788" v="575" actId="20577"/>
          <ac:spMkLst>
            <pc:docMk/>
            <pc:sldMk cId="2014377657" sldId="638"/>
            <ac:spMk id="3" creationId="{F35E8CBB-5A7D-4DEF-BAF7-8DD5D042F9E0}"/>
          </ac:spMkLst>
        </pc:spChg>
        <pc:spChg chg="mod">
          <ac:chgData name="Daniel Valero" userId="31dd2ff7-9a08-462f-9096-6c487a317220" providerId="ADAL" clId="{98459006-41D5-49D9-BF27-3385987949AA}" dt="2020-02-26T22:16:07.703" v="820" actId="6549"/>
          <ac:spMkLst>
            <pc:docMk/>
            <pc:sldMk cId="2014377657" sldId="638"/>
            <ac:spMk id="5" creationId="{1AD8A9F0-64D5-48AF-A056-EB187C5F6CEC}"/>
          </ac:spMkLst>
        </pc:spChg>
        <pc:spChg chg="mod">
          <ac:chgData name="Daniel Valero" userId="31dd2ff7-9a08-462f-9096-6c487a317220" providerId="ADAL" clId="{98459006-41D5-49D9-BF27-3385987949AA}" dt="2020-02-26T22:16:11.741" v="821" actId="1076"/>
          <ac:spMkLst>
            <pc:docMk/>
            <pc:sldMk cId="2014377657" sldId="638"/>
            <ac:spMk id="6" creationId="{1299D8ED-9125-42F0-BC98-71AC4A50AC72}"/>
          </ac:spMkLst>
        </pc:spChg>
        <pc:spChg chg="mod">
          <ac:chgData name="Daniel Valero" userId="31dd2ff7-9a08-462f-9096-6c487a317220" providerId="ADAL" clId="{98459006-41D5-49D9-BF27-3385987949AA}" dt="2020-02-26T22:16:13.524" v="822" actId="1076"/>
          <ac:spMkLst>
            <pc:docMk/>
            <pc:sldMk cId="2014377657" sldId="638"/>
            <ac:spMk id="8" creationId="{08AF5E7D-8C05-4C56-84A2-4EDBD776ECBB}"/>
          </ac:spMkLst>
        </pc:spChg>
      </pc:sldChg>
      <pc:sldChg chg="modSp mod">
        <pc:chgData name="Daniel Valero" userId="31dd2ff7-9a08-462f-9096-6c487a317220" providerId="ADAL" clId="{98459006-41D5-49D9-BF27-3385987949AA}" dt="2020-02-26T22:16:27.482" v="825" actId="1076"/>
        <pc:sldMkLst>
          <pc:docMk/>
          <pc:sldMk cId="3484407754" sldId="639"/>
        </pc:sldMkLst>
        <pc:spChg chg="mod">
          <ac:chgData name="Daniel Valero" userId="31dd2ff7-9a08-462f-9096-6c487a317220" providerId="ADAL" clId="{98459006-41D5-49D9-BF27-3385987949AA}" dt="2020-02-26T21:44:17.910" v="577" actId="20577"/>
          <ac:spMkLst>
            <pc:docMk/>
            <pc:sldMk cId="3484407754" sldId="639"/>
            <ac:spMk id="3" creationId="{F35E8CBB-5A7D-4DEF-BAF7-8DD5D042F9E0}"/>
          </ac:spMkLst>
        </pc:spChg>
        <pc:spChg chg="mod">
          <ac:chgData name="Daniel Valero" userId="31dd2ff7-9a08-462f-9096-6c487a317220" providerId="ADAL" clId="{98459006-41D5-49D9-BF27-3385987949AA}" dt="2020-02-26T22:16:23.621" v="824" actId="6549"/>
          <ac:spMkLst>
            <pc:docMk/>
            <pc:sldMk cId="3484407754" sldId="639"/>
            <ac:spMk id="5" creationId="{1AD8A9F0-64D5-48AF-A056-EB187C5F6CEC}"/>
          </ac:spMkLst>
        </pc:spChg>
        <pc:spChg chg="mod">
          <ac:chgData name="Daniel Valero" userId="31dd2ff7-9a08-462f-9096-6c487a317220" providerId="ADAL" clId="{98459006-41D5-49D9-BF27-3385987949AA}" dt="2020-02-26T22:16:22.729" v="823" actId="1076"/>
          <ac:spMkLst>
            <pc:docMk/>
            <pc:sldMk cId="3484407754" sldId="639"/>
            <ac:spMk id="6" creationId="{1299D8ED-9125-42F0-BC98-71AC4A50AC72}"/>
          </ac:spMkLst>
        </pc:spChg>
        <pc:spChg chg="mod">
          <ac:chgData name="Daniel Valero" userId="31dd2ff7-9a08-462f-9096-6c487a317220" providerId="ADAL" clId="{98459006-41D5-49D9-BF27-3385987949AA}" dt="2020-02-26T22:16:27.482" v="825" actId="1076"/>
          <ac:spMkLst>
            <pc:docMk/>
            <pc:sldMk cId="3484407754" sldId="639"/>
            <ac:spMk id="8" creationId="{08AF5E7D-8C05-4C56-84A2-4EDBD776ECBB}"/>
          </ac:spMkLst>
        </pc:spChg>
      </pc:sldChg>
      <pc:sldChg chg="modSp mod">
        <pc:chgData name="Daniel Valero" userId="31dd2ff7-9a08-462f-9096-6c487a317220" providerId="ADAL" clId="{98459006-41D5-49D9-BF27-3385987949AA}" dt="2020-02-26T22:17:10.735" v="833" actId="1076"/>
        <pc:sldMkLst>
          <pc:docMk/>
          <pc:sldMk cId="3277872637" sldId="641"/>
        </pc:sldMkLst>
        <pc:spChg chg="mod">
          <ac:chgData name="Daniel Valero" userId="31dd2ff7-9a08-462f-9096-6c487a317220" providerId="ADAL" clId="{98459006-41D5-49D9-BF27-3385987949AA}" dt="2020-02-26T21:44:31.011" v="581" actId="20577"/>
          <ac:spMkLst>
            <pc:docMk/>
            <pc:sldMk cId="3277872637" sldId="641"/>
            <ac:spMk id="3" creationId="{F35E8CBB-5A7D-4DEF-BAF7-8DD5D042F9E0}"/>
          </ac:spMkLst>
        </pc:spChg>
        <pc:spChg chg="mod">
          <ac:chgData name="Daniel Valero" userId="31dd2ff7-9a08-462f-9096-6c487a317220" providerId="ADAL" clId="{98459006-41D5-49D9-BF27-3385987949AA}" dt="2020-02-26T22:17:06.214" v="832" actId="6549"/>
          <ac:spMkLst>
            <pc:docMk/>
            <pc:sldMk cId="3277872637" sldId="641"/>
            <ac:spMk id="5" creationId="{1AD8A9F0-64D5-48AF-A056-EB187C5F6CEC}"/>
          </ac:spMkLst>
        </pc:spChg>
        <pc:spChg chg="mod">
          <ac:chgData name="Daniel Valero" userId="31dd2ff7-9a08-462f-9096-6c487a317220" providerId="ADAL" clId="{98459006-41D5-49D9-BF27-3385987949AA}" dt="2020-02-26T22:17:05.718" v="831" actId="1076"/>
          <ac:spMkLst>
            <pc:docMk/>
            <pc:sldMk cId="3277872637" sldId="641"/>
            <ac:spMk id="6" creationId="{1299D8ED-9125-42F0-BC98-71AC4A50AC72}"/>
          </ac:spMkLst>
        </pc:spChg>
        <pc:spChg chg="mod">
          <ac:chgData name="Daniel Valero" userId="31dd2ff7-9a08-462f-9096-6c487a317220" providerId="ADAL" clId="{98459006-41D5-49D9-BF27-3385987949AA}" dt="2020-02-26T22:17:10.735" v="833" actId="1076"/>
          <ac:spMkLst>
            <pc:docMk/>
            <pc:sldMk cId="3277872637" sldId="641"/>
            <ac:spMk id="8" creationId="{08AF5E7D-8C05-4C56-84A2-4EDBD776ECBB}"/>
          </ac:spMkLst>
        </pc:spChg>
      </pc:sldChg>
      <pc:sldChg chg="addSp modSp mod">
        <pc:chgData name="Daniel Valero" userId="31dd2ff7-9a08-462f-9096-6c487a317220" providerId="ADAL" clId="{98459006-41D5-49D9-BF27-3385987949AA}" dt="2020-02-26T22:17:00.182" v="830" actId="1076"/>
        <pc:sldMkLst>
          <pc:docMk/>
          <pc:sldMk cId="3560969285" sldId="642"/>
        </pc:sldMkLst>
        <pc:spChg chg="mod">
          <ac:chgData name="Daniel Valero" userId="31dd2ff7-9a08-462f-9096-6c487a317220" providerId="ADAL" clId="{98459006-41D5-49D9-BF27-3385987949AA}" dt="2020-02-26T21:44:23.666" v="579" actId="20577"/>
          <ac:spMkLst>
            <pc:docMk/>
            <pc:sldMk cId="3560969285" sldId="642"/>
            <ac:spMk id="3" creationId="{F35E8CBB-5A7D-4DEF-BAF7-8DD5D042F9E0}"/>
          </ac:spMkLst>
        </pc:spChg>
        <pc:spChg chg="mod">
          <ac:chgData name="Daniel Valero" userId="31dd2ff7-9a08-462f-9096-6c487a317220" providerId="ADAL" clId="{98459006-41D5-49D9-BF27-3385987949AA}" dt="2020-02-26T22:16:55.168" v="828" actId="6549"/>
          <ac:spMkLst>
            <pc:docMk/>
            <pc:sldMk cId="3560969285" sldId="642"/>
            <ac:spMk id="5" creationId="{1AD8A9F0-64D5-48AF-A056-EB187C5F6CEC}"/>
          </ac:spMkLst>
        </pc:spChg>
        <pc:spChg chg="mod">
          <ac:chgData name="Daniel Valero" userId="31dd2ff7-9a08-462f-9096-6c487a317220" providerId="ADAL" clId="{98459006-41D5-49D9-BF27-3385987949AA}" dt="2020-02-26T22:16:53.135" v="826" actId="1076"/>
          <ac:spMkLst>
            <pc:docMk/>
            <pc:sldMk cId="3560969285" sldId="642"/>
            <ac:spMk id="6" creationId="{1299D8ED-9125-42F0-BC98-71AC4A50AC72}"/>
          </ac:spMkLst>
        </pc:spChg>
        <pc:spChg chg="add mod">
          <ac:chgData name="Daniel Valero" userId="31dd2ff7-9a08-462f-9096-6c487a317220" providerId="ADAL" clId="{98459006-41D5-49D9-BF27-3385987949AA}" dt="2020-02-26T22:17:00.182" v="830" actId="1076"/>
          <ac:spMkLst>
            <pc:docMk/>
            <pc:sldMk cId="3560969285" sldId="642"/>
            <ac:spMk id="7" creationId="{55881739-4493-4500-B37D-691110D338C7}"/>
          </ac:spMkLst>
        </pc:spChg>
        <pc:spChg chg="mod">
          <ac:chgData name="Daniel Valero" userId="31dd2ff7-9a08-462f-9096-6c487a317220" providerId="ADAL" clId="{98459006-41D5-49D9-BF27-3385987949AA}" dt="2020-02-26T22:16:57.349" v="829" actId="1076"/>
          <ac:spMkLst>
            <pc:docMk/>
            <pc:sldMk cId="3560969285" sldId="642"/>
            <ac:spMk id="8" creationId="{08AF5E7D-8C05-4C56-84A2-4EDBD776ECBB}"/>
          </ac:spMkLst>
        </pc:spChg>
      </pc:sldChg>
      <pc:sldChg chg="addSp delSp modSp add del mod ord">
        <pc:chgData name="Daniel Valero" userId="31dd2ff7-9a08-462f-9096-6c487a317220" providerId="ADAL" clId="{98459006-41D5-49D9-BF27-3385987949AA}" dt="2020-02-26T21:38:12.829" v="349" actId="47"/>
        <pc:sldMkLst>
          <pc:docMk/>
          <pc:sldMk cId="4090849934" sldId="643"/>
        </pc:sldMkLst>
        <pc:spChg chg="mod">
          <ac:chgData name="Daniel Valero" userId="31dd2ff7-9a08-462f-9096-6c487a317220" providerId="ADAL" clId="{98459006-41D5-49D9-BF27-3385987949AA}" dt="2020-02-26T21:32:59.827" v="1"/>
          <ac:spMkLst>
            <pc:docMk/>
            <pc:sldMk cId="4090849934" sldId="643"/>
            <ac:spMk id="2" creationId="{EB67312A-9819-43C6-8D84-D9136E6CFFCC}"/>
          </ac:spMkLst>
        </pc:spChg>
        <pc:spChg chg="del mod">
          <ac:chgData name="Daniel Valero" userId="31dd2ff7-9a08-462f-9096-6c487a317220" providerId="ADAL" clId="{98459006-41D5-49D9-BF27-3385987949AA}" dt="2020-02-26T21:34:02.033" v="88" actId="3680"/>
          <ac:spMkLst>
            <pc:docMk/>
            <pc:sldMk cId="4090849934" sldId="643"/>
            <ac:spMk id="4" creationId="{F3616A99-090F-45E1-9334-58D58B148205}"/>
          </ac:spMkLst>
        </pc:spChg>
        <pc:spChg chg="del">
          <ac:chgData name="Daniel Valero" userId="31dd2ff7-9a08-462f-9096-6c487a317220" providerId="ADAL" clId="{98459006-41D5-49D9-BF27-3385987949AA}" dt="2020-02-26T21:33:50.770" v="85" actId="478"/>
          <ac:spMkLst>
            <pc:docMk/>
            <pc:sldMk cId="4090849934" sldId="643"/>
            <ac:spMk id="6" creationId="{F8842B6B-AD6C-401F-904D-7A4A505688DB}"/>
          </ac:spMkLst>
        </pc:spChg>
        <pc:spChg chg="del">
          <ac:chgData name="Daniel Valero" userId="31dd2ff7-9a08-462f-9096-6c487a317220" providerId="ADAL" clId="{98459006-41D5-49D9-BF27-3385987949AA}" dt="2020-02-26T21:33:51.658" v="86" actId="478"/>
          <ac:spMkLst>
            <pc:docMk/>
            <pc:sldMk cId="4090849934" sldId="643"/>
            <ac:spMk id="8" creationId="{63B9B722-F161-4DC3-9B99-6703E07B34E0}"/>
          </ac:spMkLst>
        </pc:spChg>
        <pc:spChg chg="del">
          <ac:chgData name="Daniel Valero" userId="31dd2ff7-9a08-462f-9096-6c487a317220" providerId="ADAL" clId="{98459006-41D5-49D9-BF27-3385987949AA}" dt="2020-02-26T21:33:53.305" v="87" actId="478"/>
          <ac:spMkLst>
            <pc:docMk/>
            <pc:sldMk cId="4090849934" sldId="643"/>
            <ac:spMk id="9" creationId="{C1C8E9F5-5846-45F0-9E02-D14844D69038}"/>
          </ac:spMkLst>
        </pc:spChg>
        <pc:spChg chg="mod">
          <ac:chgData name="Daniel Valero" userId="31dd2ff7-9a08-462f-9096-6c487a317220" providerId="ADAL" clId="{98459006-41D5-49D9-BF27-3385987949AA}" dt="2020-02-26T21:36:04.106" v="240" actId="20577"/>
          <ac:spMkLst>
            <pc:docMk/>
            <pc:sldMk cId="4090849934" sldId="643"/>
            <ac:spMk id="11" creationId="{FFAAFCAB-7AC9-4807-ACDA-4668ED10F3AF}"/>
          </ac:spMkLst>
        </pc:spChg>
        <pc:graphicFrameChg chg="add mod ord modGraphic">
          <ac:chgData name="Daniel Valero" userId="31dd2ff7-9a08-462f-9096-6c487a317220" providerId="ADAL" clId="{98459006-41D5-49D9-BF27-3385987949AA}" dt="2020-02-26T21:38:06.292" v="348"/>
          <ac:graphicFrameMkLst>
            <pc:docMk/>
            <pc:sldMk cId="4090849934" sldId="643"/>
            <ac:graphicFrameMk id="3" creationId="{2F155EC4-7285-4ECE-A5F3-D520AEBCBDCF}"/>
          </ac:graphicFrameMkLst>
        </pc:graphicFrameChg>
        <pc:picChg chg="del">
          <ac:chgData name="Daniel Valero" userId="31dd2ff7-9a08-462f-9096-6c487a317220" providerId="ADAL" clId="{98459006-41D5-49D9-BF27-3385987949AA}" dt="2020-02-26T21:36:05.233" v="241" actId="478"/>
          <ac:picMkLst>
            <pc:docMk/>
            <pc:sldMk cId="4090849934" sldId="643"/>
            <ac:picMk id="13" creationId="{BDFA756D-3080-467C-A3AC-4BB7340A2D72}"/>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41B3EA7-9E3E-422B-B305-7DB343CBFE9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67EA654-F9DC-4603-92FF-6147EB6086AF}">
      <dgm:prSet/>
      <dgm:spPr/>
      <dgm:t>
        <a:bodyPr/>
        <a:lstStyle/>
        <a:p>
          <a:r>
            <a:rPr lang="en-US" baseline="0" dirty="0"/>
            <a:t>Methods used to extract data from each table.</a:t>
          </a:r>
          <a:endParaRPr lang="en-US" dirty="0"/>
        </a:p>
      </dgm:t>
    </dgm:pt>
    <dgm:pt modelId="{28AEDF60-A918-419D-869D-36A653952D78}" type="parTrans" cxnId="{B477BF3F-ECD1-4855-81CB-CD229A532DD3}">
      <dgm:prSet/>
      <dgm:spPr/>
      <dgm:t>
        <a:bodyPr/>
        <a:lstStyle/>
        <a:p>
          <a:endParaRPr lang="en-US"/>
        </a:p>
      </dgm:t>
    </dgm:pt>
    <dgm:pt modelId="{BFC65BCB-AD65-476E-B1E2-ED5F4B8FB47E}" type="sibTrans" cxnId="{B477BF3F-ECD1-4855-81CB-CD229A532DD3}">
      <dgm:prSet/>
      <dgm:spPr/>
      <dgm:t>
        <a:bodyPr/>
        <a:lstStyle/>
        <a:p>
          <a:endParaRPr lang="en-US"/>
        </a:p>
      </dgm:t>
    </dgm:pt>
    <dgm:pt modelId="{A024EB79-F72A-45AB-B424-82E713F7BBD5}">
      <dgm:prSet/>
      <dgm:spPr/>
      <dgm:t>
        <a:bodyPr/>
        <a:lstStyle/>
        <a:p>
          <a:r>
            <a:rPr lang="en-US" baseline="0" dirty="0"/>
            <a:t>How data is joined</a:t>
          </a:r>
          <a:endParaRPr lang="en-US" dirty="0"/>
        </a:p>
      </dgm:t>
    </dgm:pt>
    <dgm:pt modelId="{DAABAA82-BCC2-411C-A04D-541892C3881B}" type="parTrans" cxnId="{C3EDCEC4-0CD8-46EE-8F38-82CFEEA560B8}">
      <dgm:prSet/>
      <dgm:spPr/>
      <dgm:t>
        <a:bodyPr/>
        <a:lstStyle/>
        <a:p>
          <a:endParaRPr lang="en-US"/>
        </a:p>
      </dgm:t>
    </dgm:pt>
    <dgm:pt modelId="{D1351729-EC09-4898-9C62-789456B4A686}" type="sibTrans" cxnId="{C3EDCEC4-0CD8-46EE-8F38-82CFEEA560B8}">
      <dgm:prSet/>
      <dgm:spPr/>
      <dgm:t>
        <a:bodyPr/>
        <a:lstStyle/>
        <a:p>
          <a:endParaRPr lang="en-US"/>
        </a:p>
      </dgm:t>
    </dgm:pt>
    <dgm:pt modelId="{7ED08583-E553-4585-87A7-1FAC73EA6217}">
      <dgm:prSet/>
      <dgm:spPr/>
      <dgm:t>
        <a:bodyPr/>
        <a:lstStyle/>
        <a:p>
          <a:r>
            <a:rPr lang="en-US" baseline="0" dirty="0"/>
            <a:t>Use of temporary worktables and sorts</a:t>
          </a:r>
          <a:endParaRPr lang="en-US" dirty="0"/>
        </a:p>
      </dgm:t>
    </dgm:pt>
    <dgm:pt modelId="{F80C6096-7F00-46B9-9573-DA750C236400}" type="parTrans" cxnId="{B8A12D62-CB1A-4760-B2B8-69982711202F}">
      <dgm:prSet/>
      <dgm:spPr/>
      <dgm:t>
        <a:bodyPr/>
        <a:lstStyle/>
        <a:p>
          <a:endParaRPr lang="en-US"/>
        </a:p>
      </dgm:t>
    </dgm:pt>
    <dgm:pt modelId="{0DECED85-5364-4CA7-AC33-01C69D0CAEA6}" type="sibTrans" cxnId="{B8A12D62-CB1A-4760-B2B8-69982711202F}">
      <dgm:prSet/>
      <dgm:spPr/>
      <dgm:t>
        <a:bodyPr/>
        <a:lstStyle/>
        <a:p>
          <a:endParaRPr lang="en-US"/>
        </a:p>
      </dgm:t>
    </dgm:pt>
    <dgm:pt modelId="{32D5514A-6887-4FD8-B3CA-9187C2899652}">
      <dgm:prSet/>
      <dgm:spPr/>
      <dgm:t>
        <a:bodyPr/>
        <a:lstStyle/>
        <a:p>
          <a:r>
            <a:rPr lang="en-US" baseline="0" dirty="0"/>
            <a:t>Estimated rowcount, iterations, and costs from each operator</a:t>
          </a:r>
          <a:endParaRPr lang="en-US" dirty="0"/>
        </a:p>
      </dgm:t>
    </dgm:pt>
    <dgm:pt modelId="{AB7786C8-A81E-4C98-8B93-CE382E771F60}" type="parTrans" cxnId="{59D85305-754B-4D32-B26A-3C62AE8F275E}">
      <dgm:prSet/>
      <dgm:spPr/>
      <dgm:t>
        <a:bodyPr/>
        <a:lstStyle/>
        <a:p>
          <a:endParaRPr lang="en-US"/>
        </a:p>
      </dgm:t>
    </dgm:pt>
    <dgm:pt modelId="{B15DE607-BBF1-4202-8042-06FE3173DE46}" type="sibTrans" cxnId="{59D85305-754B-4D32-B26A-3C62AE8F275E}">
      <dgm:prSet/>
      <dgm:spPr/>
      <dgm:t>
        <a:bodyPr/>
        <a:lstStyle/>
        <a:p>
          <a:endParaRPr lang="en-US"/>
        </a:p>
      </dgm:t>
    </dgm:pt>
    <dgm:pt modelId="{DCA9FB7A-0CD4-4AD0-BFFF-3D1AA5884586}">
      <dgm:prSet/>
      <dgm:spPr/>
      <dgm:t>
        <a:bodyPr/>
        <a:lstStyle/>
        <a:p>
          <a:r>
            <a:rPr lang="en-US" baseline="0" dirty="0"/>
            <a:t>Actual rowcount and iterations</a:t>
          </a:r>
          <a:endParaRPr lang="en-US" dirty="0"/>
        </a:p>
      </dgm:t>
    </dgm:pt>
    <dgm:pt modelId="{2AEEB71B-3CB7-49A4-97DE-7FB9298C71E3}" type="parTrans" cxnId="{67FA18C7-911C-4FDD-8A04-906EA440E891}">
      <dgm:prSet/>
      <dgm:spPr/>
      <dgm:t>
        <a:bodyPr/>
        <a:lstStyle/>
        <a:p>
          <a:endParaRPr lang="en-US"/>
        </a:p>
      </dgm:t>
    </dgm:pt>
    <dgm:pt modelId="{843468F2-33B6-43D3-9A0F-E80503A134FE}" type="sibTrans" cxnId="{67FA18C7-911C-4FDD-8A04-906EA440E891}">
      <dgm:prSet/>
      <dgm:spPr/>
      <dgm:t>
        <a:bodyPr/>
        <a:lstStyle/>
        <a:p>
          <a:endParaRPr lang="en-US"/>
        </a:p>
      </dgm:t>
    </dgm:pt>
    <dgm:pt modelId="{A4C23E06-FCE3-4E7C-8D68-0AFD1119EA31}">
      <dgm:prSet/>
      <dgm:spPr/>
      <dgm:t>
        <a:bodyPr/>
        <a:lstStyle/>
        <a:p>
          <a:r>
            <a:rPr lang="en-US" baseline="0"/>
            <a:t>Sequence in which the source tables are accessed.</a:t>
          </a:r>
          <a:endParaRPr lang="en-US" dirty="0"/>
        </a:p>
      </dgm:t>
    </dgm:pt>
    <dgm:pt modelId="{1746E474-C6C2-474B-A472-571DAC510561}" type="sibTrans" cxnId="{235BB0DF-7438-4492-93F0-C3C39845F133}">
      <dgm:prSet/>
      <dgm:spPr/>
      <dgm:t>
        <a:bodyPr/>
        <a:lstStyle/>
        <a:p>
          <a:endParaRPr lang="en-US"/>
        </a:p>
      </dgm:t>
    </dgm:pt>
    <dgm:pt modelId="{6F50769C-C800-4DD3-945E-2A50E7F83803}" type="parTrans" cxnId="{235BB0DF-7438-4492-93F0-C3C39845F133}">
      <dgm:prSet/>
      <dgm:spPr/>
      <dgm:t>
        <a:bodyPr/>
        <a:lstStyle/>
        <a:p>
          <a:endParaRPr lang="en-US"/>
        </a:p>
      </dgm:t>
    </dgm:pt>
    <dgm:pt modelId="{C4FE8172-4035-479E-8E6A-EE58EDEAD396}" type="pres">
      <dgm:prSet presAssocID="{941B3EA7-9E3E-422B-B305-7DB343CBFE91}" presName="linear" presStyleCnt="0">
        <dgm:presLayoutVars>
          <dgm:animLvl val="lvl"/>
          <dgm:resizeHandles val="exact"/>
        </dgm:presLayoutVars>
      </dgm:prSet>
      <dgm:spPr/>
    </dgm:pt>
    <dgm:pt modelId="{8F8CB167-03AF-4887-8026-86E2309610B7}" type="pres">
      <dgm:prSet presAssocID="{A4C23E06-FCE3-4E7C-8D68-0AFD1119EA31}" presName="parentText" presStyleLbl="node1" presStyleIdx="0" presStyleCnt="6">
        <dgm:presLayoutVars>
          <dgm:chMax val="0"/>
          <dgm:bulletEnabled val="1"/>
        </dgm:presLayoutVars>
      </dgm:prSet>
      <dgm:spPr/>
    </dgm:pt>
    <dgm:pt modelId="{046CD76D-3039-498F-8976-565FE10EAD5D}" type="pres">
      <dgm:prSet presAssocID="{1746E474-C6C2-474B-A472-571DAC510561}" presName="spacer" presStyleCnt="0"/>
      <dgm:spPr/>
    </dgm:pt>
    <dgm:pt modelId="{1BF1DD65-B7B5-4756-B381-D847D027B224}" type="pres">
      <dgm:prSet presAssocID="{067EA654-F9DC-4603-92FF-6147EB6086AF}" presName="parentText" presStyleLbl="node1" presStyleIdx="1" presStyleCnt="6">
        <dgm:presLayoutVars>
          <dgm:chMax val="0"/>
          <dgm:bulletEnabled val="1"/>
        </dgm:presLayoutVars>
      </dgm:prSet>
      <dgm:spPr/>
    </dgm:pt>
    <dgm:pt modelId="{1C1CBA70-CD11-42C9-971A-306A5ACD1BAC}" type="pres">
      <dgm:prSet presAssocID="{BFC65BCB-AD65-476E-B1E2-ED5F4B8FB47E}" presName="spacer" presStyleCnt="0"/>
      <dgm:spPr/>
    </dgm:pt>
    <dgm:pt modelId="{E2B42D5B-6516-495F-8411-9442A5C6E88C}" type="pres">
      <dgm:prSet presAssocID="{A024EB79-F72A-45AB-B424-82E713F7BBD5}" presName="parentText" presStyleLbl="node1" presStyleIdx="2" presStyleCnt="6">
        <dgm:presLayoutVars>
          <dgm:chMax val="0"/>
          <dgm:bulletEnabled val="1"/>
        </dgm:presLayoutVars>
      </dgm:prSet>
      <dgm:spPr/>
    </dgm:pt>
    <dgm:pt modelId="{0FFAC56E-234F-445E-AA08-C3B653CF72D2}" type="pres">
      <dgm:prSet presAssocID="{D1351729-EC09-4898-9C62-789456B4A686}" presName="spacer" presStyleCnt="0"/>
      <dgm:spPr/>
    </dgm:pt>
    <dgm:pt modelId="{917DD80E-0FAD-4AFE-A87D-E4174719CD00}" type="pres">
      <dgm:prSet presAssocID="{7ED08583-E553-4585-87A7-1FAC73EA6217}" presName="parentText" presStyleLbl="node1" presStyleIdx="3" presStyleCnt="6">
        <dgm:presLayoutVars>
          <dgm:chMax val="0"/>
          <dgm:bulletEnabled val="1"/>
        </dgm:presLayoutVars>
      </dgm:prSet>
      <dgm:spPr/>
    </dgm:pt>
    <dgm:pt modelId="{A41CEDAA-05C5-45A9-985C-DED68BD824BC}" type="pres">
      <dgm:prSet presAssocID="{0DECED85-5364-4CA7-AC33-01C69D0CAEA6}" presName="spacer" presStyleCnt="0"/>
      <dgm:spPr/>
    </dgm:pt>
    <dgm:pt modelId="{0E6CE36D-721F-4764-947B-14CCC6759F7D}" type="pres">
      <dgm:prSet presAssocID="{32D5514A-6887-4FD8-B3CA-9187C2899652}" presName="parentText" presStyleLbl="node1" presStyleIdx="4" presStyleCnt="6">
        <dgm:presLayoutVars>
          <dgm:chMax val="0"/>
          <dgm:bulletEnabled val="1"/>
        </dgm:presLayoutVars>
      </dgm:prSet>
      <dgm:spPr/>
    </dgm:pt>
    <dgm:pt modelId="{706DFD50-8D76-4168-915F-7B88F8879823}" type="pres">
      <dgm:prSet presAssocID="{B15DE607-BBF1-4202-8042-06FE3173DE46}" presName="spacer" presStyleCnt="0"/>
      <dgm:spPr/>
    </dgm:pt>
    <dgm:pt modelId="{32B0EE26-375F-484C-AA91-7A1D4825F8FD}" type="pres">
      <dgm:prSet presAssocID="{DCA9FB7A-0CD4-4AD0-BFFF-3D1AA5884586}" presName="parentText" presStyleLbl="node1" presStyleIdx="5" presStyleCnt="6">
        <dgm:presLayoutVars>
          <dgm:chMax val="0"/>
          <dgm:bulletEnabled val="1"/>
        </dgm:presLayoutVars>
      </dgm:prSet>
      <dgm:spPr/>
    </dgm:pt>
  </dgm:ptLst>
  <dgm:cxnLst>
    <dgm:cxn modelId="{59D85305-754B-4D32-B26A-3C62AE8F275E}" srcId="{941B3EA7-9E3E-422B-B305-7DB343CBFE91}" destId="{32D5514A-6887-4FD8-B3CA-9187C2899652}" srcOrd="4" destOrd="0" parTransId="{AB7786C8-A81E-4C98-8B93-CE382E771F60}" sibTransId="{B15DE607-BBF1-4202-8042-06FE3173DE46}"/>
    <dgm:cxn modelId="{5AFE152C-9266-435B-807F-21A21A2F6243}" type="presOf" srcId="{7ED08583-E553-4585-87A7-1FAC73EA6217}" destId="{917DD80E-0FAD-4AFE-A87D-E4174719CD00}" srcOrd="0" destOrd="0" presId="urn:microsoft.com/office/officeart/2005/8/layout/vList2"/>
    <dgm:cxn modelId="{306B2932-12B0-481A-A0D7-4E7E72972ACA}" type="presOf" srcId="{A024EB79-F72A-45AB-B424-82E713F7BBD5}" destId="{E2B42D5B-6516-495F-8411-9442A5C6E88C}" srcOrd="0" destOrd="0" presId="urn:microsoft.com/office/officeart/2005/8/layout/vList2"/>
    <dgm:cxn modelId="{B477BF3F-ECD1-4855-81CB-CD229A532DD3}" srcId="{941B3EA7-9E3E-422B-B305-7DB343CBFE91}" destId="{067EA654-F9DC-4603-92FF-6147EB6086AF}" srcOrd="1" destOrd="0" parTransId="{28AEDF60-A918-419D-869D-36A653952D78}" sibTransId="{BFC65BCB-AD65-476E-B1E2-ED5F4B8FB47E}"/>
    <dgm:cxn modelId="{2FDFCC5F-F66F-41A0-BA71-6B61B6390D41}" type="presOf" srcId="{067EA654-F9DC-4603-92FF-6147EB6086AF}" destId="{1BF1DD65-B7B5-4756-B381-D847D027B224}" srcOrd="0" destOrd="0" presId="urn:microsoft.com/office/officeart/2005/8/layout/vList2"/>
    <dgm:cxn modelId="{B8A12D62-CB1A-4760-B2B8-69982711202F}" srcId="{941B3EA7-9E3E-422B-B305-7DB343CBFE91}" destId="{7ED08583-E553-4585-87A7-1FAC73EA6217}" srcOrd="3" destOrd="0" parTransId="{F80C6096-7F00-46B9-9573-DA750C236400}" sibTransId="{0DECED85-5364-4CA7-AC33-01C69D0CAEA6}"/>
    <dgm:cxn modelId="{69C8D74D-7AF4-4ABC-87D4-E4BCEC17E794}" type="presOf" srcId="{32D5514A-6887-4FD8-B3CA-9187C2899652}" destId="{0E6CE36D-721F-4764-947B-14CCC6759F7D}" srcOrd="0" destOrd="0" presId="urn:microsoft.com/office/officeart/2005/8/layout/vList2"/>
    <dgm:cxn modelId="{3EE2E5C3-2E07-4451-812A-0FC253FF528C}" type="presOf" srcId="{941B3EA7-9E3E-422B-B305-7DB343CBFE91}" destId="{C4FE8172-4035-479E-8E6A-EE58EDEAD396}" srcOrd="0" destOrd="0" presId="urn:microsoft.com/office/officeart/2005/8/layout/vList2"/>
    <dgm:cxn modelId="{C3EDCEC4-0CD8-46EE-8F38-82CFEEA560B8}" srcId="{941B3EA7-9E3E-422B-B305-7DB343CBFE91}" destId="{A024EB79-F72A-45AB-B424-82E713F7BBD5}" srcOrd="2" destOrd="0" parTransId="{DAABAA82-BCC2-411C-A04D-541892C3881B}" sibTransId="{D1351729-EC09-4898-9C62-789456B4A686}"/>
    <dgm:cxn modelId="{67FA18C7-911C-4FDD-8A04-906EA440E891}" srcId="{941B3EA7-9E3E-422B-B305-7DB343CBFE91}" destId="{DCA9FB7A-0CD4-4AD0-BFFF-3D1AA5884586}" srcOrd="5" destOrd="0" parTransId="{2AEEB71B-3CB7-49A4-97DE-7FB9298C71E3}" sibTransId="{843468F2-33B6-43D3-9A0F-E80503A134FE}"/>
    <dgm:cxn modelId="{3CC391D7-CF68-4557-9BC8-B65B11DB0F46}" type="presOf" srcId="{A4C23E06-FCE3-4E7C-8D68-0AFD1119EA31}" destId="{8F8CB167-03AF-4887-8026-86E2309610B7}" srcOrd="0" destOrd="0" presId="urn:microsoft.com/office/officeart/2005/8/layout/vList2"/>
    <dgm:cxn modelId="{235BB0DF-7438-4492-93F0-C3C39845F133}" srcId="{941B3EA7-9E3E-422B-B305-7DB343CBFE91}" destId="{A4C23E06-FCE3-4E7C-8D68-0AFD1119EA31}" srcOrd="0" destOrd="0" parTransId="{6F50769C-C800-4DD3-945E-2A50E7F83803}" sibTransId="{1746E474-C6C2-474B-A472-571DAC510561}"/>
    <dgm:cxn modelId="{4F583AED-5981-435D-AE8F-447E9D140932}" type="presOf" srcId="{DCA9FB7A-0CD4-4AD0-BFFF-3D1AA5884586}" destId="{32B0EE26-375F-484C-AA91-7A1D4825F8FD}" srcOrd="0" destOrd="0" presId="urn:microsoft.com/office/officeart/2005/8/layout/vList2"/>
    <dgm:cxn modelId="{C784994C-8E0D-4127-8255-3932A8C6C125}" type="presParOf" srcId="{C4FE8172-4035-479E-8E6A-EE58EDEAD396}" destId="{8F8CB167-03AF-4887-8026-86E2309610B7}" srcOrd="0" destOrd="0" presId="urn:microsoft.com/office/officeart/2005/8/layout/vList2"/>
    <dgm:cxn modelId="{7D8EA829-2DF9-4EF7-B53A-7B5857DA5BDC}" type="presParOf" srcId="{C4FE8172-4035-479E-8E6A-EE58EDEAD396}" destId="{046CD76D-3039-498F-8976-565FE10EAD5D}" srcOrd="1" destOrd="0" presId="urn:microsoft.com/office/officeart/2005/8/layout/vList2"/>
    <dgm:cxn modelId="{8862D0B1-FC61-4532-B883-DDE85CA34ED3}" type="presParOf" srcId="{C4FE8172-4035-479E-8E6A-EE58EDEAD396}" destId="{1BF1DD65-B7B5-4756-B381-D847D027B224}" srcOrd="2" destOrd="0" presId="urn:microsoft.com/office/officeart/2005/8/layout/vList2"/>
    <dgm:cxn modelId="{CDD105FC-2187-4029-9F45-AF6FA683F0A4}" type="presParOf" srcId="{C4FE8172-4035-479E-8E6A-EE58EDEAD396}" destId="{1C1CBA70-CD11-42C9-971A-306A5ACD1BAC}" srcOrd="3" destOrd="0" presId="urn:microsoft.com/office/officeart/2005/8/layout/vList2"/>
    <dgm:cxn modelId="{E6AA64D8-D849-4B8B-849B-D0559D511288}" type="presParOf" srcId="{C4FE8172-4035-479E-8E6A-EE58EDEAD396}" destId="{E2B42D5B-6516-495F-8411-9442A5C6E88C}" srcOrd="4" destOrd="0" presId="urn:microsoft.com/office/officeart/2005/8/layout/vList2"/>
    <dgm:cxn modelId="{A71A7797-DE5D-465D-919D-8CE439B9069C}" type="presParOf" srcId="{C4FE8172-4035-479E-8E6A-EE58EDEAD396}" destId="{0FFAC56E-234F-445E-AA08-C3B653CF72D2}" srcOrd="5" destOrd="0" presId="urn:microsoft.com/office/officeart/2005/8/layout/vList2"/>
    <dgm:cxn modelId="{4B14E7AF-CC6B-42B9-989B-9667447FB1B9}" type="presParOf" srcId="{C4FE8172-4035-479E-8E6A-EE58EDEAD396}" destId="{917DD80E-0FAD-4AFE-A87D-E4174719CD00}" srcOrd="6" destOrd="0" presId="urn:microsoft.com/office/officeart/2005/8/layout/vList2"/>
    <dgm:cxn modelId="{08EC768D-573C-4ED8-A73B-ABB09039DFE6}" type="presParOf" srcId="{C4FE8172-4035-479E-8E6A-EE58EDEAD396}" destId="{A41CEDAA-05C5-45A9-985C-DED68BD824BC}" srcOrd="7" destOrd="0" presId="urn:microsoft.com/office/officeart/2005/8/layout/vList2"/>
    <dgm:cxn modelId="{1567D0D3-8E44-438E-B204-5241C41F1418}" type="presParOf" srcId="{C4FE8172-4035-479E-8E6A-EE58EDEAD396}" destId="{0E6CE36D-721F-4764-947B-14CCC6759F7D}" srcOrd="8" destOrd="0" presId="urn:microsoft.com/office/officeart/2005/8/layout/vList2"/>
    <dgm:cxn modelId="{83D2EB1D-949B-40F2-A6AF-761081EA63B3}" type="presParOf" srcId="{C4FE8172-4035-479E-8E6A-EE58EDEAD396}" destId="{706DFD50-8D76-4168-915F-7B88F8879823}" srcOrd="9" destOrd="0" presId="urn:microsoft.com/office/officeart/2005/8/layout/vList2"/>
    <dgm:cxn modelId="{D9C68C6D-D676-4232-B877-47AB3C5B2A91}" type="presParOf" srcId="{C4FE8172-4035-479E-8E6A-EE58EDEAD396}" destId="{32B0EE26-375F-484C-AA91-7A1D4825F8F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BBBB98E-C148-4A73-BA40-825C1DE7565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45AC514D-456D-4A80-8060-97C929D5456E}">
      <dgm:prSet custT="1"/>
      <dgm:spPr/>
      <dgm:t>
        <a:bodyPr/>
        <a:lstStyle/>
        <a:p>
          <a:r>
            <a:rPr lang="en-US" sz="2000"/>
            <a:t>Top Left </a:t>
          </a:r>
          <a:r>
            <a:rPr lang="en-US" sz="2000" dirty="0"/>
            <a:t>Operator</a:t>
          </a:r>
        </a:p>
      </dgm:t>
    </dgm:pt>
    <dgm:pt modelId="{AF546781-AD10-4611-A686-88259B1E24AF}" type="parTrans" cxnId="{58A3D8F2-266D-4EB3-BD2D-C30775A465A5}">
      <dgm:prSet/>
      <dgm:spPr/>
      <dgm:t>
        <a:bodyPr/>
        <a:lstStyle/>
        <a:p>
          <a:endParaRPr lang="en-US"/>
        </a:p>
      </dgm:t>
    </dgm:pt>
    <dgm:pt modelId="{A5FEC858-2B6C-4D12-8F66-722F208EFC90}" type="sibTrans" cxnId="{58A3D8F2-266D-4EB3-BD2D-C30775A465A5}">
      <dgm:prSet/>
      <dgm:spPr/>
      <dgm:t>
        <a:bodyPr/>
        <a:lstStyle/>
        <a:p>
          <a:endParaRPr lang="en-US"/>
        </a:p>
      </dgm:t>
    </dgm:pt>
    <dgm:pt modelId="{CDFE379C-4C17-4418-97A8-986BA6102648}">
      <dgm:prSet custT="1"/>
      <dgm:spPr/>
      <dgm:t>
        <a:bodyPr/>
        <a:lstStyle/>
        <a:p>
          <a:r>
            <a:rPr lang="en-US" sz="2000" dirty="0"/>
            <a:t>Expensive Operators</a:t>
          </a:r>
        </a:p>
      </dgm:t>
    </dgm:pt>
    <dgm:pt modelId="{6190EAA5-0DF7-402E-BA73-162ADDD708C7}" type="parTrans" cxnId="{E814A3A7-D44A-4CF7-BB88-4A2936DEEC5D}">
      <dgm:prSet/>
      <dgm:spPr/>
      <dgm:t>
        <a:bodyPr/>
        <a:lstStyle/>
        <a:p>
          <a:endParaRPr lang="en-US"/>
        </a:p>
      </dgm:t>
    </dgm:pt>
    <dgm:pt modelId="{7BBC5D6A-3C2C-4D72-8165-791F43F7AD1A}" type="sibTrans" cxnId="{E814A3A7-D44A-4CF7-BB88-4A2936DEEC5D}">
      <dgm:prSet/>
      <dgm:spPr/>
      <dgm:t>
        <a:bodyPr/>
        <a:lstStyle/>
        <a:p>
          <a:endParaRPr lang="en-US"/>
        </a:p>
      </dgm:t>
    </dgm:pt>
    <dgm:pt modelId="{C9A9EAA2-5D61-42FF-97CD-08B72DE6DEE1}">
      <dgm:prSet custT="1"/>
      <dgm:spPr/>
      <dgm:t>
        <a:bodyPr/>
        <a:lstStyle/>
        <a:p>
          <a:r>
            <a:rPr lang="en-US" sz="2000" dirty="0"/>
            <a:t>Nested Loop Operator</a:t>
          </a:r>
        </a:p>
      </dgm:t>
    </dgm:pt>
    <dgm:pt modelId="{3BD33D60-B273-4A52-BAE8-3523F606746A}" type="parTrans" cxnId="{C81356CE-E846-4B95-9885-509F493768BD}">
      <dgm:prSet/>
      <dgm:spPr/>
      <dgm:t>
        <a:bodyPr/>
        <a:lstStyle/>
        <a:p>
          <a:endParaRPr lang="en-US"/>
        </a:p>
      </dgm:t>
    </dgm:pt>
    <dgm:pt modelId="{22BB8E13-2911-43B2-88B3-CFBC4009A10E}" type="sibTrans" cxnId="{C81356CE-E846-4B95-9885-509F493768BD}">
      <dgm:prSet/>
      <dgm:spPr/>
      <dgm:t>
        <a:bodyPr/>
        <a:lstStyle/>
        <a:p>
          <a:endParaRPr lang="en-US"/>
        </a:p>
      </dgm:t>
    </dgm:pt>
    <dgm:pt modelId="{2230DC4C-F013-4335-9EBE-B24703AAAB5D}">
      <dgm:prSet custT="1"/>
      <dgm:spPr/>
      <dgm:t>
        <a:bodyPr/>
        <a:lstStyle/>
        <a:p>
          <a:r>
            <a:rPr lang="en-US" sz="2000" dirty="0"/>
            <a:t>Scans vs Seeks</a:t>
          </a:r>
        </a:p>
      </dgm:t>
    </dgm:pt>
    <dgm:pt modelId="{422B594C-C40B-4200-A2E1-314BDF756B7F}" type="parTrans" cxnId="{49D18340-0CB6-47D7-80E8-442236968955}">
      <dgm:prSet/>
      <dgm:spPr/>
      <dgm:t>
        <a:bodyPr/>
        <a:lstStyle/>
        <a:p>
          <a:endParaRPr lang="en-US"/>
        </a:p>
      </dgm:t>
    </dgm:pt>
    <dgm:pt modelId="{677AAFD1-4A00-4358-8D10-5C2CB55122F3}" type="sibTrans" cxnId="{49D18340-0CB6-47D7-80E8-442236968955}">
      <dgm:prSet/>
      <dgm:spPr/>
      <dgm:t>
        <a:bodyPr/>
        <a:lstStyle/>
        <a:p>
          <a:endParaRPr lang="en-US"/>
        </a:p>
      </dgm:t>
    </dgm:pt>
    <dgm:pt modelId="{F7C2BA91-D799-493F-B68A-87797357D65B}">
      <dgm:prSet custT="1"/>
      <dgm:spPr/>
      <dgm:t>
        <a:bodyPr/>
        <a:lstStyle/>
        <a:p>
          <a:r>
            <a:rPr lang="en-US" sz="2000" dirty="0"/>
            <a:t>Skewed Estimates</a:t>
          </a:r>
        </a:p>
      </dgm:t>
    </dgm:pt>
    <dgm:pt modelId="{B96E8DAB-9ACA-419A-BC9A-DF33FEFAFAF4}" type="parTrans" cxnId="{8AD6EADA-5A1D-4DFD-88B6-8F07034D5F0B}">
      <dgm:prSet/>
      <dgm:spPr/>
      <dgm:t>
        <a:bodyPr/>
        <a:lstStyle/>
        <a:p>
          <a:endParaRPr lang="en-US"/>
        </a:p>
      </dgm:t>
    </dgm:pt>
    <dgm:pt modelId="{97D9ED13-153A-4099-9B1C-1A5EB78BD503}" type="sibTrans" cxnId="{8AD6EADA-5A1D-4DFD-88B6-8F07034D5F0B}">
      <dgm:prSet/>
      <dgm:spPr/>
      <dgm:t>
        <a:bodyPr/>
        <a:lstStyle/>
        <a:p>
          <a:endParaRPr lang="en-US"/>
        </a:p>
      </dgm:t>
    </dgm:pt>
    <dgm:pt modelId="{92FC081A-F06D-47C6-A27F-B93E57B95042}">
      <dgm:prSet custT="1"/>
      <dgm:spPr/>
      <dgm:t>
        <a:bodyPr/>
        <a:lstStyle/>
        <a:p>
          <a:r>
            <a:rPr lang="en-US" sz="2000" dirty="0"/>
            <a:t>Warnings</a:t>
          </a:r>
        </a:p>
      </dgm:t>
    </dgm:pt>
    <dgm:pt modelId="{C691DE79-A1FF-44B4-B765-79B7D7FDB5BF}" type="parTrans" cxnId="{716D2F7F-DCBE-454A-8233-4A0020D539FB}">
      <dgm:prSet/>
      <dgm:spPr/>
      <dgm:t>
        <a:bodyPr/>
        <a:lstStyle/>
        <a:p>
          <a:endParaRPr lang="en-US"/>
        </a:p>
      </dgm:t>
    </dgm:pt>
    <dgm:pt modelId="{E48834FC-9657-441C-82C7-9834A90B2D9A}" type="sibTrans" cxnId="{716D2F7F-DCBE-454A-8233-4A0020D539FB}">
      <dgm:prSet/>
      <dgm:spPr/>
      <dgm:t>
        <a:bodyPr/>
        <a:lstStyle/>
        <a:p>
          <a:endParaRPr lang="en-US"/>
        </a:p>
      </dgm:t>
    </dgm:pt>
    <dgm:pt modelId="{7C195A31-489F-4D5C-BE3C-D0E7A62A597C}">
      <dgm:prSet custT="1"/>
      <dgm:spPr/>
      <dgm:t>
        <a:bodyPr/>
        <a:lstStyle/>
        <a:p>
          <a:r>
            <a:rPr lang="en-US" sz="2000" dirty="0"/>
            <a:t>Data Flow Statistics</a:t>
          </a:r>
        </a:p>
      </dgm:t>
    </dgm:pt>
    <dgm:pt modelId="{385321FE-0233-44D7-BBBA-0221C41A2D8B}" type="parTrans" cxnId="{5ED86815-5F8D-4FD0-A3B8-1F3457B95B1B}">
      <dgm:prSet/>
      <dgm:spPr/>
      <dgm:t>
        <a:bodyPr/>
        <a:lstStyle/>
        <a:p>
          <a:endParaRPr lang="en-US"/>
        </a:p>
      </dgm:t>
    </dgm:pt>
    <dgm:pt modelId="{23578841-9AFC-435F-9F18-13EE33A24908}" type="sibTrans" cxnId="{5ED86815-5F8D-4FD0-A3B8-1F3457B95B1B}">
      <dgm:prSet/>
      <dgm:spPr/>
      <dgm:t>
        <a:bodyPr/>
        <a:lstStyle/>
        <a:p>
          <a:endParaRPr lang="en-US"/>
        </a:p>
      </dgm:t>
    </dgm:pt>
    <dgm:pt modelId="{2B04B0B2-7B0E-418B-B8D6-26C2F3D294B7}">
      <dgm:prSet custT="1"/>
      <dgm:spPr/>
      <dgm:t>
        <a:bodyPr/>
        <a:lstStyle/>
        <a:p>
          <a:r>
            <a:rPr lang="en-US" sz="2000" dirty="0"/>
            <a:t> Information about possible issues with the plan</a:t>
          </a:r>
        </a:p>
      </dgm:t>
    </dgm:pt>
    <dgm:pt modelId="{F0E57675-A5CE-40F2-ACAD-1257719BF76D}" type="parTrans" cxnId="{309A44BB-281C-48E2-8F3A-0A6BFD53FCFB}">
      <dgm:prSet/>
      <dgm:spPr/>
      <dgm:t>
        <a:bodyPr/>
        <a:lstStyle/>
        <a:p>
          <a:endParaRPr lang="en-US"/>
        </a:p>
      </dgm:t>
    </dgm:pt>
    <dgm:pt modelId="{E8377992-9138-4A0E-A649-5DBCBC645719}" type="sibTrans" cxnId="{309A44BB-281C-48E2-8F3A-0A6BFD53FCFB}">
      <dgm:prSet/>
      <dgm:spPr/>
      <dgm:t>
        <a:bodyPr/>
        <a:lstStyle/>
        <a:p>
          <a:endParaRPr lang="en-US"/>
        </a:p>
      </dgm:t>
    </dgm:pt>
    <dgm:pt modelId="{179BD4D4-E27A-459B-83FA-AC58F87941A1}">
      <dgm:prSet custT="1"/>
      <dgm:spPr/>
      <dgm:t>
        <a:bodyPr/>
        <a:lstStyle/>
        <a:p>
          <a:r>
            <a:rPr lang="en-US" sz="2000"/>
            <a:t>Overall </a:t>
          </a:r>
          <a:r>
            <a:rPr lang="en-US" sz="2000" dirty="0"/>
            <a:t>properties of the plan</a:t>
          </a:r>
        </a:p>
      </dgm:t>
    </dgm:pt>
    <dgm:pt modelId="{57A508A1-7A23-4360-A561-5C902FE04B8A}" type="parTrans" cxnId="{0AEA9FCF-07D8-47A8-8054-89CD47630863}">
      <dgm:prSet/>
      <dgm:spPr/>
      <dgm:t>
        <a:bodyPr/>
        <a:lstStyle/>
        <a:p>
          <a:endParaRPr lang="en-US"/>
        </a:p>
      </dgm:t>
    </dgm:pt>
    <dgm:pt modelId="{058C41AA-748F-4053-A68E-7BB482D701E4}" type="sibTrans" cxnId="{0AEA9FCF-07D8-47A8-8054-89CD47630863}">
      <dgm:prSet/>
      <dgm:spPr/>
      <dgm:t>
        <a:bodyPr/>
        <a:lstStyle/>
        <a:p>
          <a:endParaRPr lang="en-US"/>
        </a:p>
      </dgm:t>
    </dgm:pt>
    <dgm:pt modelId="{3F713F67-745C-4F43-A19C-549181124E89}">
      <dgm:prSet custT="1"/>
      <dgm:spPr/>
      <dgm:t>
        <a:bodyPr/>
        <a:lstStyle/>
        <a:p>
          <a:r>
            <a:rPr lang="en-US" sz="2000" dirty="0"/>
            <a:t>Look from most expensive to least expensive </a:t>
          </a:r>
        </a:p>
      </dgm:t>
    </dgm:pt>
    <dgm:pt modelId="{C98082EF-0F9E-4863-A568-B6C29D9F98CE}" type="parTrans" cxnId="{E52F09E2-A078-419D-B472-2584DC970363}">
      <dgm:prSet/>
      <dgm:spPr/>
      <dgm:t>
        <a:bodyPr/>
        <a:lstStyle/>
        <a:p>
          <a:endParaRPr lang="en-US"/>
        </a:p>
      </dgm:t>
    </dgm:pt>
    <dgm:pt modelId="{45D835DC-ED6A-4488-98C1-389C97ACCA66}" type="sibTrans" cxnId="{E52F09E2-A078-419D-B472-2584DC970363}">
      <dgm:prSet/>
      <dgm:spPr/>
      <dgm:t>
        <a:bodyPr/>
        <a:lstStyle/>
        <a:p>
          <a:endParaRPr lang="en-US"/>
        </a:p>
      </dgm:t>
    </dgm:pt>
    <dgm:pt modelId="{6C12DF66-1858-45C2-873D-007EF6C4FEEF}">
      <dgm:prSet custT="1"/>
      <dgm:spPr/>
      <dgm:t>
        <a:bodyPr/>
        <a:lstStyle/>
        <a:p>
          <a:r>
            <a:rPr lang="en-US" sz="2000" dirty="0"/>
            <a:t>Thicker arrows mean more data is being passed</a:t>
          </a:r>
        </a:p>
      </dgm:t>
    </dgm:pt>
    <dgm:pt modelId="{54C1E07F-6D7B-4803-9EEC-16FBD9FF8E74}" type="parTrans" cxnId="{9CFECBE4-7112-4F70-B162-AD03E0B67280}">
      <dgm:prSet/>
      <dgm:spPr/>
      <dgm:t>
        <a:bodyPr/>
        <a:lstStyle/>
        <a:p>
          <a:endParaRPr lang="en-US"/>
        </a:p>
      </dgm:t>
    </dgm:pt>
    <dgm:pt modelId="{58770011-B48D-439C-A72F-2E474B879375}" type="sibTrans" cxnId="{9CFECBE4-7112-4F70-B162-AD03E0B67280}">
      <dgm:prSet/>
      <dgm:spPr/>
      <dgm:t>
        <a:bodyPr/>
        <a:lstStyle/>
        <a:p>
          <a:endParaRPr lang="en-US"/>
        </a:p>
      </dgm:t>
    </dgm:pt>
    <dgm:pt modelId="{ECBF1858-5720-4B69-9B91-4B11BCB827E5}">
      <dgm:prSet custT="1"/>
      <dgm:spPr/>
      <dgm:t>
        <a:bodyPr/>
        <a:lstStyle/>
        <a:p>
          <a:r>
            <a:rPr lang="en-US" sz="2000"/>
            <a:t>Possible </a:t>
          </a:r>
          <a:r>
            <a:rPr lang="en-US" sz="2000" dirty="0"/>
            <a:t>to create index that covers query</a:t>
          </a:r>
        </a:p>
      </dgm:t>
    </dgm:pt>
    <dgm:pt modelId="{B64210F1-A925-467D-833D-9F370ACFA529}" type="parTrans" cxnId="{3687D1B1-4E49-4106-99BD-1B3AAD66D12F}">
      <dgm:prSet/>
      <dgm:spPr/>
      <dgm:t>
        <a:bodyPr/>
        <a:lstStyle/>
        <a:p>
          <a:endParaRPr lang="en-US"/>
        </a:p>
      </dgm:t>
    </dgm:pt>
    <dgm:pt modelId="{E4103689-9765-4311-89C8-0C5E264C937B}" type="sibTrans" cxnId="{3687D1B1-4E49-4106-99BD-1B3AAD66D12F}">
      <dgm:prSet/>
      <dgm:spPr/>
      <dgm:t>
        <a:bodyPr/>
        <a:lstStyle/>
        <a:p>
          <a:endParaRPr lang="en-US"/>
        </a:p>
      </dgm:t>
    </dgm:pt>
    <dgm:pt modelId="{6A4540C6-75D5-42A5-9EAE-54E08696DF42}">
      <dgm:prSet custT="1"/>
      <dgm:spPr/>
      <dgm:t>
        <a:bodyPr/>
        <a:lstStyle/>
        <a:p>
          <a:r>
            <a:rPr lang="en-US" sz="2000" dirty="0"/>
            <a:t>Not necessarily bad, but could indicate I/O issues</a:t>
          </a:r>
        </a:p>
      </dgm:t>
    </dgm:pt>
    <dgm:pt modelId="{FB8B8CC1-AC89-463C-81E7-B24EA47786BA}" type="parTrans" cxnId="{0C2B7136-B1EA-477C-8176-852716D1A981}">
      <dgm:prSet/>
      <dgm:spPr/>
      <dgm:t>
        <a:bodyPr/>
        <a:lstStyle/>
        <a:p>
          <a:endParaRPr lang="en-US"/>
        </a:p>
      </dgm:t>
    </dgm:pt>
    <dgm:pt modelId="{86710611-5591-483C-A291-55F3CC1DACC7}" type="sibTrans" cxnId="{0C2B7136-B1EA-477C-8176-852716D1A981}">
      <dgm:prSet/>
      <dgm:spPr/>
      <dgm:t>
        <a:bodyPr/>
        <a:lstStyle/>
        <a:p>
          <a:endParaRPr lang="en-US"/>
        </a:p>
      </dgm:t>
    </dgm:pt>
    <dgm:pt modelId="{0A8EAD2D-7291-4A68-A17A-E417371904C0}">
      <dgm:prSet custT="1"/>
      <dgm:spPr/>
      <dgm:t>
        <a:bodyPr/>
        <a:lstStyle/>
        <a:p>
          <a:r>
            <a:rPr lang="en-US" sz="2000" dirty="0"/>
            <a:t>Statistics could be stale or invalid</a:t>
          </a:r>
        </a:p>
      </dgm:t>
    </dgm:pt>
    <dgm:pt modelId="{AAB8DB95-5E17-4C64-9502-74112CE3F258}" type="parTrans" cxnId="{BA54C453-25A6-4285-9749-DAB96323A940}">
      <dgm:prSet/>
      <dgm:spPr/>
      <dgm:t>
        <a:bodyPr/>
        <a:lstStyle/>
        <a:p>
          <a:endParaRPr lang="en-US"/>
        </a:p>
      </dgm:t>
    </dgm:pt>
    <dgm:pt modelId="{869EE2B5-1330-455B-BCAA-956C9232DC65}" type="sibTrans" cxnId="{BA54C453-25A6-4285-9749-DAB96323A940}">
      <dgm:prSet/>
      <dgm:spPr/>
      <dgm:t>
        <a:bodyPr/>
        <a:lstStyle/>
        <a:p>
          <a:endParaRPr lang="en-US"/>
        </a:p>
      </dgm:t>
    </dgm:pt>
    <dgm:pt modelId="{7AB79E29-99D0-48EE-BFB3-0C7371823820}" type="pres">
      <dgm:prSet presAssocID="{DBBBB98E-C148-4A73-BA40-825C1DE7565E}" presName="Name0" presStyleCnt="0">
        <dgm:presLayoutVars>
          <dgm:dir/>
          <dgm:animLvl val="lvl"/>
          <dgm:resizeHandles val="exact"/>
        </dgm:presLayoutVars>
      </dgm:prSet>
      <dgm:spPr/>
    </dgm:pt>
    <dgm:pt modelId="{FF1A8BF3-E361-4589-8F57-4D39529EB37D}" type="pres">
      <dgm:prSet presAssocID="{92FC081A-F06D-47C6-A27F-B93E57B95042}" presName="linNode" presStyleCnt="0"/>
      <dgm:spPr/>
    </dgm:pt>
    <dgm:pt modelId="{84B7B9B8-CF17-4C9F-8E5B-C19D02201E58}" type="pres">
      <dgm:prSet presAssocID="{92FC081A-F06D-47C6-A27F-B93E57B95042}" presName="parentText" presStyleLbl="node1" presStyleIdx="0" presStyleCnt="7">
        <dgm:presLayoutVars>
          <dgm:chMax val="1"/>
          <dgm:bulletEnabled val="1"/>
        </dgm:presLayoutVars>
      </dgm:prSet>
      <dgm:spPr/>
    </dgm:pt>
    <dgm:pt modelId="{E0578F1C-23D9-4408-8BAF-D0814A8EA46B}" type="pres">
      <dgm:prSet presAssocID="{92FC081A-F06D-47C6-A27F-B93E57B95042}" presName="descendantText" presStyleLbl="alignAccFollowNode1" presStyleIdx="0" presStyleCnt="7">
        <dgm:presLayoutVars>
          <dgm:bulletEnabled val="1"/>
        </dgm:presLayoutVars>
      </dgm:prSet>
      <dgm:spPr/>
    </dgm:pt>
    <dgm:pt modelId="{F7E48901-616A-49A2-A1EE-73A5B8F896C0}" type="pres">
      <dgm:prSet presAssocID="{E48834FC-9657-441C-82C7-9834A90B2D9A}" presName="sp" presStyleCnt="0"/>
      <dgm:spPr/>
    </dgm:pt>
    <dgm:pt modelId="{934CFE06-7B30-44E2-B3EC-CA1826AF6D6A}" type="pres">
      <dgm:prSet presAssocID="{45AC514D-456D-4A80-8060-97C929D5456E}" presName="linNode" presStyleCnt="0"/>
      <dgm:spPr/>
    </dgm:pt>
    <dgm:pt modelId="{77D63B06-77E8-4D76-B956-6AA6BECB473F}" type="pres">
      <dgm:prSet presAssocID="{45AC514D-456D-4A80-8060-97C929D5456E}" presName="parentText" presStyleLbl="node1" presStyleIdx="1" presStyleCnt="7">
        <dgm:presLayoutVars>
          <dgm:chMax val="1"/>
          <dgm:bulletEnabled val="1"/>
        </dgm:presLayoutVars>
      </dgm:prSet>
      <dgm:spPr/>
    </dgm:pt>
    <dgm:pt modelId="{E1672FE1-D6F3-40C1-B1BB-A94F5F67BC23}" type="pres">
      <dgm:prSet presAssocID="{45AC514D-456D-4A80-8060-97C929D5456E}" presName="descendantText" presStyleLbl="alignAccFollowNode1" presStyleIdx="1" presStyleCnt="7">
        <dgm:presLayoutVars>
          <dgm:bulletEnabled val="1"/>
        </dgm:presLayoutVars>
      </dgm:prSet>
      <dgm:spPr/>
    </dgm:pt>
    <dgm:pt modelId="{C8696C85-1991-495D-96A7-120C5937ED0F}" type="pres">
      <dgm:prSet presAssocID="{A5FEC858-2B6C-4D12-8F66-722F208EFC90}" presName="sp" presStyleCnt="0"/>
      <dgm:spPr/>
    </dgm:pt>
    <dgm:pt modelId="{765189E4-CD06-49AF-A5C7-DF6CAC18F07F}" type="pres">
      <dgm:prSet presAssocID="{CDFE379C-4C17-4418-97A8-986BA6102648}" presName="linNode" presStyleCnt="0"/>
      <dgm:spPr/>
    </dgm:pt>
    <dgm:pt modelId="{E44F4864-B4DA-478C-99B9-E2FC412EDD26}" type="pres">
      <dgm:prSet presAssocID="{CDFE379C-4C17-4418-97A8-986BA6102648}" presName="parentText" presStyleLbl="node1" presStyleIdx="2" presStyleCnt="7">
        <dgm:presLayoutVars>
          <dgm:chMax val="1"/>
          <dgm:bulletEnabled val="1"/>
        </dgm:presLayoutVars>
      </dgm:prSet>
      <dgm:spPr/>
    </dgm:pt>
    <dgm:pt modelId="{A6BB1FD6-985A-4294-B984-8BBE267C556F}" type="pres">
      <dgm:prSet presAssocID="{CDFE379C-4C17-4418-97A8-986BA6102648}" presName="descendantText" presStyleLbl="alignAccFollowNode1" presStyleIdx="2" presStyleCnt="7">
        <dgm:presLayoutVars>
          <dgm:bulletEnabled val="1"/>
        </dgm:presLayoutVars>
      </dgm:prSet>
      <dgm:spPr/>
    </dgm:pt>
    <dgm:pt modelId="{6DD88D4E-D9C0-4AE8-A20E-A1D9058227CA}" type="pres">
      <dgm:prSet presAssocID="{7BBC5D6A-3C2C-4D72-8165-791F43F7AD1A}" presName="sp" presStyleCnt="0"/>
      <dgm:spPr/>
    </dgm:pt>
    <dgm:pt modelId="{066C67FE-8913-43A4-8AB4-3092CAF406BD}" type="pres">
      <dgm:prSet presAssocID="{7C195A31-489F-4D5C-BE3C-D0E7A62A597C}" presName="linNode" presStyleCnt="0"/>
      <dgm:spPr/>
    </dgm:pt>
    <dgm:pt modelId="{BC4526AF-2EAB-4E8A-A353-77D12FAC2F15}" type="pres">
      <dgm:prSet presAssocID="{7C195A31-489F-4D5C-BE3C-D0E7A62A597C}" presName="parentText" presStyleLbl="node1" presStyleIdx="3" presStyleCnt="7">
        <dgm:presLayoutVars>
          <dgm:chMax val="1"/>
          <dgm:bulletEnabled val="1"/>
        </dgm:presLayoutVars>
      </dgm:prSet>
      <dgm:spPr/>
    </dgm:pt>
    <dgm:pt modelId="{CE407802-79FE-4B31-9D8F-DA1959A708C8}" type="pres">
      <dgm:prSet presAssocID="{7C195A31-489F-4D5C-BE3C-D0E7A62A597C}" presName="descendantText" presStyleLbl="alignAccFollowNode1" presStyleIdx="3" presStyleCnt="7">
        <dgm:presLayoutVars>
          <dgm:bulletEnabled val="1"/>
        </dgm:presLayoutVars>
      </dgm:prSet>
      <dgm:spPr/>
    </dgm:pt>
    <dgm:pt modelId="{4FB4FD20-B5AA-4F21-9293-2BCEF4F9DC14}" type="pres">
      <dgm:prSet presAssocID="{23578841-9AFC-435F-9F18-13EE33A24908}" presName="sp" presStyleCnt="0"/>
      <dgm:spPr/>
    </dgm:pt>
    <dgm:pt modelId="{854A0047-D822-4CBF-8F84-21E896EFF934}" type="pres">
      <dgm:prSet presAssocID="{C9A9EAA2-5D61-42FF-97CD-08B72DE6DEE1}" presName="linNode" presStyleCnt="0"/>
      <dgm:spPr/>
    </dgm:pt>
    <dgm:pt modelId="{63A621D9-7E51-488D-A87F-C91AEC1D1623}" type="pres">
      <dgm:prSet presAssocID="{C9A9EAA2-5D61-42FF-97CD-08B72DE6DEE1}" presName="parentText" presStyleLbl="node1" presStyleIdx="4" presStyleCnt="7">
        <dgm:presLayoutVars>
          <dgm:chMax val="1"/>
          <dgm:bulletEnabled val="1"/>
        </dgm:presLayoutVars>
      </dgm:prSet>
      <dgm:spPr/>
    </dgm:pt>
    <dgm:pt modelId="{49483BC9-7EBB-4B07-84C4-29A8C81CE3A2}" type="pres">
      <dgm:prSet presAssocID="{C9A9EAA2-5D61-42FF-97CD-08B72DE6DEE1}" presName="descendantText" presStyleLbl="alignAccFollowNode1" presStyleIdx="4" presStyleCnt="7">
        <dgm:presLayoutVars>
          <dgm:bulletEnabled val="1"/>
        </dgm:presLayoutVars>
      </dgm:prSet>
      <dgm:spPr/>
    </dgm:pt>
    <dgm:pt modelId="{8AB37C23-DFAD-4A20-BB34-ABCB28C7DCA7}" type="pres">
      <dgm:prSet presAssocID="{22BB8E13-2911-43B2-88B3-CFBC4009A10E}" presName="sp" presStyleCnt="0"/>
      <dgm:spPr/>
    </dgm:pt>
    <dgm:pt modelId="{B52BFBB0-CC4D-46D4-A0C7-202CE2A69109}" type="pres">
      <dgm:prSet presAssocID="{2230DC4C-F013-4335-9EBE-B24703AAAB5D}" presName="linNode" presStyleCnt="0"/>
      <dgm:spPr/>
    </dgm:pt>
    <dgm:pt modelId="{A4268063-F919-45C8-96D6-E0469ED8C6E7}" type="pres">
      <dgm:prSet presAssocID="{2230DC4C-F013-4335-9EBE-B24703AAAB5D}" presName="parentText" presStyleLbl="node1" presStyleIdx="5" presStyleCnt="7">
        <dgm:presLayoutVars>
          <dgm:chMax val="1"/>
          <dgm:bulletEnabled val="1"/>
        </dgm:presLayoutVars>
      </dgm:prSet>
      <dgm:spPr/>
    </dgm:pt>
    <dgm:pt modelId="{A63DC958-F01E-461D-9803-CE9D682108D1}" type="pres">
      <dgm:prSet presAssocID="{2230DC4C-F013-4335-9EBE-B24703AAAB5D}" presName="descendantText" presStyleLbl="alignAccFollowNode1" presStyleIdx="5" presStyleCnt="7">
        <dgm:presLayoutVars>
          <dgm:bulletEnabled val="1"/>
        </dgm:presLayoutVars>
      </dgm:prSet>
      <dgm:spPr/>
    </dgm:pt>
    <dgm:pt modelId="{A08D5657-7254-46A5-9749-172A44D998F5}" type="pres">
      <dgm:prSet presAssocID="{677AAFD1-4A00-4358-8D10-5C2CB55122F3}" presName="sp" presStyleCnt="0"/>
      <dgm:spPr/>
    </dgm:pt>
    <dgm:pt modelId="{74B280C3-7D04-4EA2-A037-CE2701F56A93}" type="pres">
      <dgm:prSet presAssocID="{F7C2BA91-D799-493F-B68A-87797357D65B}" presName="linNode" presStyleCnt="0"/>
      <dgm:spPr/>
    </dgm:pt>
    <dgm:pt modelId="{4C024234-C58C-41AF-8E8E-9314898FF03F}" type="pres">
      <dgm:prSet presAssocID="{F7C2BA91-D799-493F-B68A-87797357D65B}" presName="parentText" presStyleLbl="node1" presStyleIdx="6" presStyleCnt="7">
        <dgm:presLayoutVars>
          <dgm:chMax val="1"/>
          <dgm:bulletEnabled val="1"/>
        </dgm:presLayoutVars>
      </dgm:prSet>
      <dgm:spPr/>
    </dgm:pt>
    <dgm:pt modelId="{C44360D4-090F-4F2C-9A70-603F26F29860}" type="pres">
      <dgm:prSet presAssocID="{F7C2BA91-D799-493F-B68A-87797357D65B}" presName="descendantText" presStyleLbl="alignAccFollowNode1" presStyleIdx="6" presStyleCnt="7">
        <dgm:presLayoutVars>
          <dgm:bulletEnabled val="1"/>
        </dgm:presLayoutVars>
      </dgm:prSet>
      <dgm:spPr/>
    </dgm:pt>
  </dgm:ptLst>
  <dgm:cxnLst>
    <dgm:cxn modelId="{965C420F-2416-42EE-98C8-A87772F7155E}" type="presOf" srcId="{2230DC4C-F013-4335-9EBE-B24703AAAB5D}" destId="{A4268063-F919-45C8-96D6-E0469ED8C6E7}" srcOrd="0" destOrd="0" presId="urn:microsoft.com/office/officeart/2005/8/layout/vList5"/>
    <dgm:cxn modelId="{5ED86815-5F8D-4FD0-A3B8-1F3457B95B1B}" srcId="{DBBBB98E-C148-4A73-BA40-825C1DE7565E}" destId="{7C195A31-489F-4D5C-BE3C-D0E7A62A597C}" srcOrd="3" destOrd="0" parTransId="{385321FE-0233-44D7-BBBA-0221C41A2D8B}" sibTransId="{23578841-9AFC-435F-9F18-13EE33A24908}"/>
    <dgm:cxn modelId="{17569728-056E-4195-90DF-D9704BEAB6A1}" type="presOf" srcId="{7C195A31-489F-4D5C-BE3C-D0E7A62A597C}" destId="{BC4526AF-2EAB-4E8A-A353-77D12FAC2F15}" srcOrd="0" destOrd="0" presId="urn:microsoft.com/office/officeart/2005/8/layout/vList5"/>
    <dgm:cxn modelId="{BCDB1329-520D-4B3A-8C7B-ECB11D061D9F}" type="presOf" srcId="{CDFE379C-4C17-4418-97A8-986BA6102648}" destId="{E44F4864-B4DA-478C-99B9-E2FC412EDD26}" srcOrd="0" destOrd="0" presId="urn:microsoft.com/office/officeart/2005/8/layout/vList5"/>
    <dgm:cxn modelId="{F51E1C2B-D8F0-4BCB-A308-38D462E6683C}" type="presOf" srcId="{6A4540C6-75D5-42A5-9EAE-54E08696DF42}" destId="{A63DC958-F01E-461D-9803-CE9D682108D1}" srcOrd="0" destOrd="0" presId="urn:microsoft.com/office/officeart/2005/8/layout/vList5"/>
    <dgm:cxn modelId="{0C2B7136-B1EA-477C-8176-852716D1A981}" srcId="{2230DC4C-F013-4335-9EBE-B24703AAAB5D}" destId="{6A4540C6-75D5-42A5-9EAE-54E08696DF42}" srcOrd="0" destOrd="0" parTransId="{FB8B8CC1-AC89-463C-81E7-B24EA47786BA}" sibTransId="{86710611-5591-483C-A291-55F3CC1DACC7}"/>
    <dgm:cxn modelId="{24953F39-74E3-435C-BACB-AAFB896B8711}" type="presOf" srcId="{0A8EAD2D-7291-4A68-A17A-E417371904C0}" destId="{C44360D4-090F-4F2C-9A70-603F26F29860}" srcOrd="0" destOrd="0" presId="urn:microsoft.com/office/officeart/2005/8/layout/vList5"/>
    <dgm:cxn modelId="{49D18340-0CB6-47D7-80E8-442236968955}" srcId="{DBBBB98E-C148-4A73-BA40-825C1DE7565E}" destId="{2230DC4C-F013-4335-9EBE-B24703AAAB5D}" srcOrd="5" destOrd="0" parTransId="{422B594C-C40B-4200-A2E1-314BDF756B7F}" sibTransId="{677AAFD1-4A00-4358-8D10-5C2CB55122F3}"/>
    <dgm:cxn modelId="{2B6F084C-7A4F-4471-A68E-8A99B41617AC}" type="presOf" srcId="{2B04B0B2-7B0E-418B-B8D6-26C2F3D294B7}" destId="{E0578F1C-23D9-4408-8BAF-D0814A8EA46B}" srcOrd="0" destOrd="0" presId="urn:microsoft.com/office/officeart/2005/8/layout/vList5"/>
    <dgm:cxn modelId="{BA54C453-25A6-4285-9749-DAB96323A940}" srcId="{F7C2BA91-D799-493F-B68A-87797357D65B}" destId="{0A8EAD2D-7291-4A68-A17A-E417371904C0}" srcOrd="0" destOrd="0" parTransId="{AAB8DB95-5E17-4C64-9502-74112CE3F258}" sibTransId="{869EE2B5-1330-455B-BCAA-956C9232DC65}"/>
    <dgm:cxn modelId="{59FD9556-C921-4C41-BF19-6EDA9DB50129}" type="presOf" srcId="{ECBF1858-5720-4B69-9B91-4B11BCB827E5}" destId="{49483BC9-7EBB-4B07-84C4-29A8C81CE3A2}" srcOrd="0" destOrd="0" presId="urn:microsoft.com/office/officeart/2005/8/layout/vList5"/>
    <dgm:cxn modelId="{716D2F7F-DCBE-454A-8233-4A0020D539FB}" srcId="{DBBBB98E-C148-4A73-BA40-825C1DE7565E}" destId="{92FC081A-F06D-47C6-A27F-B93E57B95042}" srcOrd="0" destOrd="0" parTransId="{C691DE79-A1FF-44B4-B765-79B7D7FDB5BF}" sibTransId="{E48834FC-9657-441C-82C7-9834A90B2D9A}"/>
    <dgm:cxn modelId="{BE7ECF9B-5002-4579-9A9B-D754802C5A33}" type="presOf" srcId="{179BD4D4-E27A-459B-83FA-AC58F87941A1}" destId="{E1672FE1-D6F3-40C1-B1BB-A94F5F67BC23}" srcOrd="0" destOrd="0" presId="urn:microsoft.com/office/officeart/2005/8/layout/vList5"/>
    <dgm:cxn modelId="{2E570EA3-F550-430D-88FA-04D941A86A5D}" type="presOf" srcId="{F7C2BA91-D799-493F-B68A-87797357D65B}" destId="{4C024234-C58C-41AF-8E8E-9314898FF03F}" srcOrd="0" destOrd="0" presId="urn:microsoft.com/office/officeart/2005/8/layout/vList5"/>
    <dgm:cxn modelId="{E814A3A7-D44A-4CF7-BB88-4A2936DEEC5D}" srcId="{DBBBB98E-C148-4A73-BA40-825C1DE7565E}" destId="{CDFE379C-4C17-4418-97A8-986BA6102648}" srcOrd="2" destOrd="0" parTransId="{6190EAA5-0DF7-402E-BA73-162ADDD708C7}" sibTransId="{7BBC5D6A-3C2C-4D72-8165-791F43F7AD1A}"/>
    <dgm:cxn modelId="{A5F679A9-5918-4FE5-A9A8-A7713B42C598}" type="presOf" srcId="{3F713F67-745C-4F43-A19C-549181124E89}" destId="{A6BB1FD6-985A-4294-B984-8BBE267C556F}" srcOrd="0" destOrd="0" presId="urn:microsoft.com/office/officeart/2005/8/layout/vList5"/>
    <dgm:cxn modelId="{3687D1B1-4E49-4106-99BD-1B3AAD66D12F}" srcId="{C9A9EAA2-5D61-42FF-97CD-08B72DE6DEE1}" destId="{ECBF1858-5720-4B69-9B91-4B11BCB827E5}" srcOrd="0" destOrd="0" parTransId="{B64210F1-A925-467D-833D-9F370ACFA529}" sibTransId="{E4103689-9765-4311-89C8-0C5E264C937B}"/>
    <dgm:cxn modelId="{309A44BB-281C-48E2-8F3A-0A6BFD53FCFB}" srcId="{92FC081A-F06D-47C6-A27F-B93E57B95042}" destId="{2B04B0B2-7B0E-418B-B8D6-26C2F3D294B7}" srcOrd="0" destOrd="0" parTransId="{F0E57675-A5CE-40F2-ACAD-1257719BF76D}" sibTransId="{E8377992-9138-4A0E-A649-5DBCBC645719}"/>
    <dgm:cxn modelId="{C81356CE-E846-4B95-9885-509F493768BD}" srcId="{DBBBB98E-C148-4A73-BA40-825C1DE7565E}" destId="{C9A9EAA2-5D61-42FF-97CD-08B72DE6DEE1}" srcOrd="4" destOrd="0" parTransId="{3BD33D60-B273-4A52-BAE8-3523F606746A}" sibTransId="{22BB8E13-2911-43B2-88B3-CFBC4009A10E}"/>
    <dgm:cxn modelId="{0AEA9FCF-07D8-47A8-8054-89CD47630863}" srcId="{45AC514D-456D-4A80-8060-97C929D5456E}" destId="{179BD4D4-E27A-459B-83FA-AC58F87941A1}" srcOrd="0" destOrd="0" parTransId="{57A508A1-7A23-4360-A561-5C902FE04B8A}" sibTransId="{058C41AA-748F-4053-A68E-7BB482D701E4}"/>
    <dgm:cxn modelId="{7FC47CD5-FE5C-465F-88CF-17168E1B7EC5}" type="presOf" srcId="{45AC514D-456D-4A80-8060-97C929D5456E}" destId="{77D63B06-77E8-4D76-B956-6AA6BECB473F}" srcOrd="0" destOrd="0" presId="urn:microsoft.com/office/officeart/2005/8/layout/vList5"/>
    <dgm:cxn modelId="{B74A1ED7-0EAD-4F59-8E33-2DFB0A743E3C}" type="presOf" srcId="{92FC081A-F06D-47C6-A27F-B93E57B95042}" destId="{84B7B9B8-CF17-4C9F-8E5B-C19D02201E58}" srcOrd="0" destOrd="0" presId="urn:microsoft.com/office/officeart/2005/8/layout/vList5"/>
    <dgm:cxn modelId="{1A0ACAD7-7B8E-4498-881B-13426CBAA86B}" type="presOf" srcId="{DBBBB98E-C148-4A73-BA40-825C1DE7565E}" destId="{7AB79E29-99D0-48EE-BFB3-0C7371823820}" srcOrd="0" destOrd="0" presId="urn:microsoft.com/office/officeart/2005/8/layout/vList5"/>
    <dgm:cxn modelId="{8AD6EADA-5A1D-4DFD-88B6-8F07034D5F0B}" srcId="{DBBBB98E-C148-4A73-BA40-825C1DE7565E}" destId="{F7C2BA91-D799-493F-B68A-87797357D65B}" srcOrd="6" destOrd="0" parTransId="{B96E8DAB-9ACA-419A-BC9A-DF33FEFAFAF4}" sibTransId="{97D9ED13-153A-4099-9B1C-1A5EB78BD503}"/>
    <dgm:cxn modelId="{E52F09E2-A078-419D-B472-2584DC970363}" srcId="{CDFE379C-4C17-4418-97A8-986BA6102648}" destId="{3F713F67-745C-4F43-A19C-549181124E89}" srcOrd="0" destOrd="0" parTransId="{C98082EF-0F9E-4863-A568-B6C29D9F98CE}" sibTransId="{45D835DC-ED6A-4488-98C1-389C97ACCA66}"/>
    <dgm:cxn modelId="{9CFECBE4-7112-4F70-B162-AD03E0B67280}" srcId="{7C195A31-489F-4D5C-BE3C-D0E7A62A597C}" destId="{6C12DF66-1858-45C2-873D-007EF6C4FEEF}" srcOrd="0" destOrd="0" parTransId="{54C1E07F-6D7B-4803-9EEC-16FBD9FF8E74}" sibTransId="{58770011-B48D-439C-A72F-2E474B879375}"/>
    <dgm:cxn modelId="{AF905EEA-C5F4-4EAE-9933-DB5B326CBF88}" type="presOf" srcId="{6C12DF66-1858-45C2-873D-007EF6C4FEEF}" destId="{CE407802-79FE-4B31-9D8F-DA1959A708C8}" srcOrd="0" destOrd="0" presId="urn:microsoft.com/office/officeart/2005/8/layout/vList5"/>
    <dgm:cxn modelId="{58A3D8F2-266D-4EB3-BD2D-C30775A465A5}" srcId="{DBBBB98E-C148-4A73-BA40-825C1DE7565E}" destId="{45AC514D-456D-4A80-8060-97C929D5456E}" srcOrd="1" destOrd="0" parTransId="{AF546781-AD10-4611-A686-88259B1E24AF}" sibTransId="{A5FEC858-2B6C-4D12-8F66-722F208EFC90}"/>
    <dgm:cxn modelId="{0DD7BFFC-D78A-468C-AF6E-A89B393A7C6F}" type="presOf" srcId="{C9A9EAA2-5D61-42FF-97CD-08B72DE6DEE1}" destId="{63A621D9-7E51-488D-A87F-C91AEC1D1623}" srcOrd="0" destOrd="0" presId="urn:microsoft.com/office/officeart/2005/8/layout/vList5"/>
    <dgm:cxn modelId="{373A527F-7C1C-4B3F-8DC6-385DF7740362}" type="presParOf" srcId="{7AB79E29-99D0-48EE-BFB3-0C7371823820}" destId="{FF1A8BF3-E361-4589-8F57-4D39529EB37D}" srcOrd="0" destOrd="0" presId="urn:microsoft.com/office/officeart/2005/8/layout/vList5"/>
    <dgm:cxn modelId="{0A0F695F-D811-4186-9248-B353117A478F}" type="presParOf" srcId="{FF1A8BF3-E361-4589-8F57-4D39529EB37D}" destId="{84B7B9B8-CF17-4C9F-8E5B-C19D02201E58}" srcOrd="0" destOrd="0" presId="urn:microsoft.com/office/officeart/2005/8/layout/vList5"/>
    <dgm:cxn modelId="{09D1A7AE-E7DB-4AE7-9CE1-43C89AA23DDC}" type="presParOf" srcId="{FF1A8BF3-E361-4589-8F57-4D39529EB37D}" destId="{E0578F1C-23D9-4408-8BAF-D0814A8EA46B}" srcOrd="1" destOrd="0" presId="urn:microsoft.com/office/officeart/2005/8/layout/vList5"/>
    <dgm:cxn modelId="{181FB06C-054A-401B-AE6E-858C68B14AB7}" type="presParOf" srcId="{7AB79E29-99D0-48EE-BFB3-0C7371823820}" destId="{F7E48901-616A-49A2-A1EE-73A5B8F896C0}" srcOrd="1" destOrd="0" presId="urn:microsoft.com/office/officeart/2005/8/layout/vList5"/>
    <dgm:cxn modelId="{DD8AE140-D09E-44D4-BD41-BAFE13B2C21F}" type="presParOf" srcId="{7AB79E29-99D0-48EE-BFB3-0C7371823820}" destId="{934CFE06-7B30-44E2-B3EC-CA1826AF6D6A}" srcOrd="2" destOrd="0" presId="urn:microsoft.com/office/officeart/2005/8/layout/vList5"/>
    <dgm:cxn modelId="{0F8FEFD1-3AC1-4C60-95FB-D2BA0F98166A}" type="presParOf" srcId="{934CFE06-7B30-44E2-B3EC-CA1826AF6D6A}" destId="{77D63B06-77E8-4D76-B956-6AA6BECB473F}" srcOrd="0" destOrd="0" presId="urn:microsoft.com/office/officeart/2005/8/layout/vList5"/>
    <dgm:cxn modelId="{401D8B8D-51EE-4FC9-99C7-D7FF325D8FC9}" type="presParOf" srcId="{934CFE06-7B30-44E2-B3EC-CA1826AF6D6A}" destId="{E1672FE1-D6F3-40C1-B1BB-A94F5F67BC23}" srcOrd="1" destOrd="0" presId="urn:microsoft.com/office/officeart/2005/8/layout/vList5"/>
    <dgm:cxn modelId="{779D3F5F-9167-4260-8A1C-F8E939601ABA}" type="presParOf" srcId="{7AB79E29-99D0-48EE-BFB3-0C7371823820}" destId="{C8696C85-1991-495D-96A7-120C5937ED0F}" srcOrd="3" destOrd="0" presId="urn:microsoft.com/office/officeart/2005/8/layout/vList5"/>
    <dgm:cxn modelId="{0ECDD525-3EEC-427F-99B2-678B4C31DEB4}" type="presParOf" srcId="{7AB79E29-99D0-48EE-BFB3-0C7371823820}" destId="{765189E4-CD06-49AF-A5C7-DF6CAC18F07F}" srcOrd="4" destOrd="0" presId="urn:microsoft.com/office/officeart/2005/8/layout/vList5"/>
    <dgm:cxn modelId="{B50BAD75-AE0F-401C-9DB9-348FFFD5A1FA}" type="presParOf" srcId="{765189E4-CD06-49AF-A5C7-DF6CAC18F07F}" destId="{E44F4864-B4DA-478C-99B9-E2FC412EDD26}" srcOrd="0" destOrd="0" presId="urn:microsoft.com/office/officeart/2005/8/layout/vList5"/>
    <dgm:cxn modelId="{8BBDCCA9-E98F-4EC4-8A31-0616A077390E}" type="presParOf" srcId="{765189E4-CD06-49AF-A5C7-DF6CAC18F07F}" destId="{A6BB1FD6-985A-4294-B984-8BBE267C556F}" srcOrd="1" destOrd="0" presId="urn:microsoft.com/office/officeart/2005/8/layout/vList5"/>
    <dgm:cxn modelId="{5C329AAE-21B4-49D6-8BC5-8EE8F220BD3F}" type="presParOf" srcId="{7AB79E29-99D0-48EE-BFB3-0C7371823820}" destId="{6DD88D4E-D9C0-4AE8-A20E-A1D9058227CA}" srcOrd="5" destOrd="0" presId="urn:microsoft.com/office/officeart/2005/8/layout/vList5"/>
    <dgm:cxn modelId="{3F1F9CB1-17AB-4CDE-BCB6-72F8A7294D15}" type="presParOf" srcId="{7AB79E29-99D0-48EE-BFB3-0C7371823820}" destId="{066C67FE-8913-43A4-8AB4-3092CAF406BD}" srcOrd="6" destOrd="0" presId="urn:microsoft.com/office/officeart/2005/8/layout/vList5"/>
    <dgm:cxn modelId="{5EFD4029-F0C1-428A-AD7F-65A05C913D91}" type="presParOf" srcId="{066C67FE-8913-43A4-8AB4-3092CAF406BD}" destId="{BC4526AF-2EAB-4E8A-A353-77D12FAC2F15}" srcOrd="0" destOrd="0" presId="urn:microsoft.com/office/officeart/2005/8/layout/vList5"/>
    <dgm:cxn modelId="{8B3E2BCD-B681-444F-9FB2-7FFFA4F4CD04}" type="presParOf" srcId="{066C67FE-8913-43A4-8AB4-3092CAF406BD}" destId="{CE407802-79FE-4B31-9D8F-DA1959A708C8}" srcOrd="1" destOrd="0" presId="urn:microsoft.com/office/officeart/2005/8/layout/vList5"/>
    <dgm:cxn modelId="{27396068-979C-4208-A081-0D2EB157D712}" type="presParOf" srcId="{7AB79E29-99D0-48EE-BFB3-0C7371823820}" destId="{4FB4FD20-B5AA-4F21-9293-2BCEF4F9DC14}" srcOrd="7" destOrd="0" presId="urn:microsoft.com/office/officeart/2005/8/layout/vList5"/>
    <dgm:cxn modelId="{97EBA107-369D-4CD2-A7CF-05295EBB23F3}" type="presParOf" srcId="{7AB79E29-99D0-48EE-BFB3-0C7371823820}" destId="{854A0047-D822-4CBF-8F84-21E896EFF934}" srcOrd="8" destOrd="0" presId="urn:microsoft.com/office/officeart/2005/8/layout/vList5"/>
    <dgm:cxn modelId="{7F0368F4-E951-4A44-B0D6-820B5B9FF1E7}" type="presParOf" srcId="{854A0047-D822-4CBF-8F84-21E896EFF934}" destId="{63A621D9-7E51-488D-A87F-C91AEC1D1623}" srcOrd="0" destOrd="0" presId="urn:microsoft.com/office/officeart/2005/8/layout/vList5"/>
    <dgm:cxn modelId="{EB2F8B5B-127F-45F0-B486-9EA2F1B24F0F}" type="presParOf" srcId="{854A0047-D822-4CBF-8F84-21E896EFF934}" destId="{49483BC9-7EBB-4B07-84C4-29A8C81CE3A2}" srcOrd="1" destOrd="0" presId="urn:microsoft.com/office/officeart/2005/8/layout/vList5"/>
    <dgm:cxn modelId="{F6F1F496-A9A7-461F-AFCD-7F29DF94B72A}" type="presParOf" srcId="{7AB79E29-99D0-48EE-BFB3-0C7371823820}" destId="{8AB37C23-DFAD-4A20-BB34-ABCB28C7DCA7}" srcOrd="9" destOrd="0" presId="urn:microsoft.com/office/officeart/2005/8/layout/vList5"/>
    <dgm:cxn modelId="{9816CC26-40EB-45BA-9357-E061AC177ED0}" type="presParOf" srcId="{7AB79E29-99D0-48EE-BFB3-0C7371823820}" destId="{B52BFBB0-CC4D-46D4-A0C7-202CE2A69109}" srcOrd="10" destOrd="0" presId="urn:microsoft.com/office/officeart/2005/8/layout/vList5"/>
    <dgm:cxn modelId="{F1711B74-F2A0-40BF-8C69-BC12F1C1C5EE}" type="presParOf" srcId="{B52BFBB0-CC4D-46D4-A0C7-202CE2A69109}" destId="{A4268063-F919-45C8-96D6-E0469ED8C6E7}" srcOrd="0" destOrd="0" presId="urn:microsoft.com/office/officeart/2005/8/layout/vList5"/>
    <dgm:cxn modelId="{6B29875A-B640-43AB-B1DD-142ACFFCA845}" type="presParOf" srcId="{B52BFBB0-CC4D-46D4-A0C7-202CE2A69109}" destId="{A63DC958-F01E-461D-9803-CE9D682108D1}" srcOrd="1" destOrd="0" presId="urn:microsoft.com/office/officeart/2005/8/layout/vList5"/>
    <dgm:cxn modelId="{AFB93AAD-5A22-4EE1-86A9-ED3FE65F18E3}" type="presParOf" srcId="{7AB79E29-99D0-48EE-BFB3-0C7371823820}" destId="{A08D5657-7254-46A5-9749-172A44D998F5}" srcOrd="11" destOrd="0" presId="urn:microsoft.com/office/officeart/2005/8/layout/vList5"/>
    <dgm:cxn modelId="{80D00FB4-1C18-4B23-9D52-AD3E33685D01}" type="presParOf" srcId="{7AB79E29-99D0-48EE-BFB3-0C7371823820}" destId="{74B280C3-7D04-4EA2-A037-CE2701F56A93}" srcOrd="12" destOrd="0" presId="urn:microsoft.com/office/officeart/2005/8/layout/vList5"/>
    <dgm:cxn modelId="{86D4454B-FFA8-448D-9DFB-8E300602AFA7}" type="presParOf" srcId="{74B280C3-7D04-4EA2-A037-CE2701F56A93}" destId="{4C024234-C58C-41AF-8E8E-9314898FF03F}" srcOrd="0" destOrd="0" presId="urn:microsoft.com/office/officeart/2005/8/layout/vList5"/>
    <dgm:cxn modelId="{D0C37AAF-1293-4F25-A03B-660A4DA00D92}" type="presParOf" srcId="{74B280C3-7D04-4EA2-A037-CE2701F56A93}" destId="{C44360D4-090F-4F2C-9A70-603F26F2986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91E6C2E-F468-4922-ADFA-CB176D57AE56}"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62BE30D5-C58B-4DDB-9955-8635E7CDB54D}">
      <dgm:prSet/>
      <dgm:spPr/>
      <dgm:t>
        <a:bodyPr/>
        <a:lstStyle/>
        <a:p>
          <a:r>
            <a:rPr lang="en-US" baseline="0" dirty="0"/>
            <a:t>A pool of memory used to store query execution plans</a:t>
          </a:r>
          <a:endParaRPr lang="en-US" dirty="0"/>
        </a:p>
      </dgm:t>
    </dgm:pt>
    <dgm:pt modelId="{4020F0F1-DFA9-462A-A944-9FA20A993416}" type="parTrans" cxnId="{F40C037C-5FD0-4360-94AA-560CCB77EAE2}">
      <dgm:prSet/>
      <dgm:spPr/>
      <dgm:t>
        <a:bodyPr/>
        <a:lstStyle/>
        <a:p>
          <a:endParaRPr lang="en-US"/>
        </a:p>
      </dgm:t>
    </dgm:pt>
    <dgm:pt modelId="{F7035A17-C27A-4E37-92B6-ED534566585D}" type="sibTrans" cxnId="{F40C037C-5FD0-4360-94AA-560CCB77EAE2}">
      <dgm:prSet/>
      <dgm:spPr/>
      <dgm:t>
        <a:bodyPr/>
        <a:lstStyle/>
        <a:p>
          <a:endParaRPr lang="en-US"/>
        </a:p>
      </dgm:t>
    </dgm:pt>
    <dgm:pt modelId="{EC5C81BC-7F76-4FD4-85D9-DBBE9A4EFD65}">
      <dgm:prSet/>
      <dgm:spPr/>
      <dgm:t>
        <a:bodyPr/>
        <a:lstStyle/>
        <a:p>
          <a:r>
            <a:rPr lang="en-US" baseline="0" dirty="0"/>
            <a:t>All databases in a SQL Server instance</a:t>
          </a:r>
          <a:endParaRPr lang="en-US" dirty="0"/>
        </a:p>
      </dgm:t>
    </dgm:pt>
    <dgm:pt modelId="{C265AC9C-EFD8-485C-8C5B-19702A19D623}" type="parTrans" cxnId="{240B8B25-43C2-4E20-96BB-79D6CA6B66E1}">
      <dgm:prSet/>
      <dgm:spPr/>
      <dgm:t>
        <a:bodyPr/>
        <a:lstStyle/>
        <a:p>
          <a:endParaRPr lang="en-US"/>
        </a:p>
      </dgm:t>
    </dgm:pt>
    <dgm:pt modelId="{7508DFF6-A2C6-4132-93F4-00069B45C7EA}" type="sibTrans" cxnId="{240B8B25-43C2-4E20-96BB-79D6CA6B66E1}">
      <dgm:prSet/>
      <dgm:spPr/>
      <dgm:t>
        <a:bodyPr/>
        <a:lstStyle/>
        <a:p>
          <a:endParaRPr lang="en-US"/>
        </a:p>
      </dgm:t>
    </dgm:pt>
    <dgm:pt modelId="{6D0C2C71-01D9-4F4C-BF75-CB4C972DF304}">
      <dgm:prSet/>
      <dgm:spPr/>
      <dgm:t>
        <a:bodyPr/>
        <a:lstStyle/>
        <a:p>
          <a:r>
            <a:rPr lang="en-US" baseline="0" dirty="0"/>
            <a:t>Avoid repeated optimization and compilation</a:t>
          </a:r>
          <a:endParaRPr lang="en-US" dirty="0"/>
        </a:p>
      </dgm:t>
    </dgm:pt>
    <dgm:pt modelId="{6744C273-82EB-409D-BC46-08F6D4DBF0B1}" type="parTrans" cxnId="{FADEE81E-1989-4566-B480-EC58AE880AEF}">
      <dgm:prSet/>
      <dgm:spPr/>
      <dgm:t>
        <a:bodyPr/>
        <a:lstStyle/>
        <a:p>
          <a:endParaRPr lang="en-US"/>
        </a:p>
      </dgm:t>
    </dgm:pt>
    <dgm:pt modelId="{EC558CBE-E2C0-4C23-A6C3-4ED4BC21248A}" type="sibTrans" cxnId="{FADEE81E-1989-4566-B480-EC58AE880AEF}">
      <dgm:prSet/>
      <dgm:spPr/>
      <dgm:t>
        <a:bodyPr/>
        <a:lstStyle/>
        <a:p>
          <a:endParaRPr lang="en-US"/>
        </a:p>
      </dgm:t>
    </dgm:pt>
    <dgm:pt modelId="{955784C0-64D8-4862-ACF7-C8E720175EC0}">
      <dgm:prSet/>
      <dgm:spPr/>
      <dgm:t>
        <a:bodyPr/>
        <a:lstStyle/>
        <a:p>
          <a:r>
            <a:rPr lang="en-US" baseline="0" dirty="0"/>
            <a:t>Vary over time</a:t>
          </a:r>
          <a:endParaRPr lang="en-US" dirty="0"/>
        </a:p>
      </dgm:t>
    </dgm:pt>
    <dgm:pt modelId="{9A674A26-661D-4794-A122-722337F36D3B}" type="parTrans" cxnId="{A1855012-BA36-4592-AAA3-7E5BE61E7F12}">
      <dgm:prSet/>
      <dgm:spPr/>
      <dgm:t>
        <a:bodyPr/>
        <a:lstStyle/>
        <a:p>
          <a:endParaRPr lang="en-US"/>
        </a:p>
      </dgm:t>
    </dgm:pt>
    <dgm:pt modelId="{EB6F72F8-51B5-4814-8E04-B85141A47F83}" type="sibTrans" cxnId="{A1855012-BA36-4592-AAA3-7E5BE61E7F12}">
      <dgm:prSet/>
      <dgm:spPr/>
      <dgm:t>
        <a:bodyPr/>
        <a:lstStyle/>
        <a:p>
          <a:endParaRPr lang="en-US"/>
        </a:p>
      </dgm:t>
    </dgm:pt>
    <dgm:pt modelId="{08C9FB33-742F-425D-A8B9-60137D3B6F01}">
      <dgm:prSet/>
      <dgm:spPr/>
      <dgm:t>
        <a:bodyPr/>
        <a:lstStyle/>
        <a:p>
          <a:r>
            <a:rPr lang="en-US" baseline="0" dirty="0"/>
            <a:t>Can grow (within limits) to hold more and/or larger plans</a:t>
          </a:r>
          <a:endParaRPr lang="en-US" dirty="0"/>
        </a:p>
      </dgm:t>
    </dgm:pt>
    <dgm:pt modelId="{12DD647E-F0C8-4FD9-9238-C5C3DB6603F3}" type="parTrans" cxnId="{0B63146E-3B8C-4710-8EF7-A9426E412091}">
      <dgm:prSet/>
      <dgm:spPr/>
      <dgm:t>
        <a:bodyPr/>
        <a:lstStyle/>
        <a:p>
          <a:endParaRPr lang="en-US"/>
        </a:p>
      </dgm:t>
    </dgm:pt>
    <dgm:pt modelId="{43D9A90D-0B75-4580-B412-6F5E69926D2B}" type="sibTrans" cxnId="{0B63146E-3B8C-4710-8EF7-A9426E412091}">
      <dgm:prSet/>
      <dgm:spPr/>
      <dgm:t>
        <a:bodyPr/>
        <a:lstStyle/>
        <a:p>
          <a:endParaRPr lang="en-US"/>
        </a:p>
      </dgm:t>
    </dgm:pt>
    <dgm:pt modelId="{09274780-15D2-4D1D-95AF-097E202B80DE}">
      <dgm:prSet/>
      <dgm:spPr/>
      <dgm:t>
        <a:bodyPr/>
        <a:lstStyle/>
        <a:p>
          <a:r>
            <a:rPr lang="en-US" baseline="0" dirty="0"/>
            <a:t>Can shrink under memory pressure, by evicting plans</a:t>
          </a:r>
          <a:endParaRPr lang="en-US" dirty="0"/>
        </a:p>
      </dgm:t>
    </dgm:pt>
    <dgm:pt modelId="{0FCEDA34-F666-4518-989F-5129EBA859EE}" type="parTrans" cxnId="{655CAD21-8545-4B81-A643-8D90320D8F71}">
      <dgm:prSet/>
      <dgm:spPr/>
      <dgm:t>
        <a:bodyPr/>
        <a:lstStyle/>
        <a:p>
          <a:endParaRPr lang="en-US"/>
        </a:p>
      </dgm:t>
    </dgm:pt>
    <dgm:pt modelId="{F215F008-BB91-4559-A835-2048EAF1CB8B}" type="sibTrans" cxnId="{655CAD21-8545-4B81-A643-8D90320D8F71}">
      <dgm:prSet/>
      <dgm:spPr/>
      <dgm:t>
        <a:bodyPr/>
        <a:lstStyle/>
        <a:p>
          <a:endParaRPr lang="en-US"/>
        </a:p>
      </dgm:t>
    </dgm:pt>
    <dgm:pt modelId="{F60A2FDB-84A2-4D65-B284-BE8B17AF4D61}">
      <dgm:prSet/>
      <dgm:spPr/>
      <dgm:t>
        <a:bodyPr/>
        <a:lstStyle/>
        <a:p>
          <a:r>
            <a:rPr lang="en-US" dirty="0"/>
            <a:t>Is</a:t>
          </a:r>
        </a:p>
      </dgm:t>
    </dgm:pt>
    <dgm:pt modelId="{D6EE3DE2-A97D-4917-B18A-CCA95C933C43}" type="parTrans" cxnId="{380BA6B1-E891-4605-B5B8-25693536993E}">
      <dgm:prSet/>
      <dgm:spPr/>
      <dgm:t>
        <a:bodyPr/>
        <a:lstStyle/>
        <a:p>
          <a:endParaRPr lang="en-US"/>
        </a:p>
      </dgm:t>
    </dgm:pt>
    <dgm:pt modelId="{E70751FC-F60B-477F-ADBB-45FF4F807ED8}" type="sibTrans" cxnId="{380BA6B1-E891-4605-B5B8-25693536993E}">
      <dgm:prSet/>
      <dgm:spPr/>
      <dgm:t>
        <a:bodyPr/>
        <a:lstStyle/>
        <a:p>
          <a:endParaRPr lang="en-US"/>
        </a:p>
      </dgm:t>
    </dgm:pt>
    <dgm:pt modelId="{BD6C200C-C4FC-46BD-B87B-908CB172E70F}">
      <dgm:prSet/>
      <dgm:spPr/>
      <dgm:t>
        <a:bodyPr/>
        <a:lstStyle/>
        <a:p>
          <a:r>
            <a:rPr lang="en-US" dirty="0"/>
            <a:t>Is used by</a:t>
          </a:r>
        </a:p>
      </dgm:t>
    </dgm:pt>
    <dgm:pt modelId="{D401E71A-F3A9-452D-9E1C-F4A3113BC68D}" type="parTrans" cxnId="{9B991698-142C-4789-B113-CC29E12787DB}">
      <dgm:prSet/>
      <dgm:spPr/>
      <dgm:t>
        <a:bodyPr/>
        <a:lstStyle/>
        <a:p>
          <a:endParaRPr lang="en-US"/>
        </a:p>
      </dgm:t>
    </dgm:pt>
    <dgm:pt modelId="{4C8F42BF-3875-4313-9445-C6F3E940407A}" type="sibTrans" cxnId="{9B991698-142C-4789-B113-CC29E12787DB}">
      <dgm:prSet/>
      <dgm:spPr/>
      <dgm:t>
        <a:bodyPr/>
        <a:lstStyle/>
        <a:p>
          <a:endParaRPr lang="en-US"/>
        </a:p>
      </dgm:t>
    </dgm:pt>
    <dgm:pt modelId="{23282C6B-4684-4713-9146-6C30E2F49654}">
      <dgm:prSet/>
      <dgm:spPr/>
      <dgm:t>
        <a:bodyPr/>
        <a:lstStyle/>
        <a:p>
          <a:r>
            <a:rPr lang="en-US" dirty="0"/>
            <a:t>Exists to</a:t>
          </a:r>
        </a:p>
      </dgm:t>
    </dgm:pt>
    <dgm:pt modelId="{5279FD8E-15ED-4B63-AA41-8DE6FC6CD742}" type="parTrans" cxnId="{B7C74E9E-8780-4168-999A-8E09499294F9}">
      <dgm:prSet/>
      <dgm:spPr/>
      <dgm:t>
        <a:bodyPr/>
        <a:lstStyle/>
        <a:p>
          <a:endParaRPr lang="en-US"/>
        </a:p>
      </dgm:t>
    </dgm:pt>
    <dgm:pt modelId="{61545D51-D75D-4C3E-AC8E-63787E84D1F8}" type="sibTrans" cxnId="{B7C74E9E-8780-4168-999A-8E09499294F9}">
      <dgm:prSet/>
      <dgm:spPr/>
      <dgm:t>
        <a:bodyPr/>
        <a:lstStyle/>
        <a:p>
          <a:endParaRPr lang="en-US"/>
        </a:p>
      </dgm:t>
    </dgm:pt>
    <dgm:pt modelId="{48F32901-B2CA-4180-8606-7BC8E77681BB}">
      <dgm:prSet/>
      <dgm:spPr/>
      <dgm:t>
        <a:bodyPr/>
        <a:lstStyle/>
        <a:p>
          <a:r>
            <a:rPr lang="en-US" dirty="0"/>
            <a:t>Size and contents</a:t>
          </a:r>
        </a:p>
      </dgm:t>
    </dgm:pt>
    <dgm:pt modelId="{3A5328FF-37CC-4A5D-AF0E-7AC975C9FE70}" type="parTrans" cxnId="{BC98D9AC-0042-472B-B261-55B17655253B}">
      <dgm:prSet/>
      <dgm:spPr/>
      <dgm:t>
        <a:bodyPr/>
        <a:lstStyle/>
        <a:p>
          <a:endParaRPr lang="en-US"/>
        </a:p>
      </dgm:t>
    </dgm:pt>
    <dgm:pt modelId="{BE469B66-09CC-4875-AA82-62F1E701D310}" type="sibTrans" cxnId="{BC98D9AC-0042-472B-B261-55B17655253B}">
      <dgm:prSet/>
      <dgm:spPr/>
      <dgm:t>
        <a:bodyPr/>
        <a:lstStyle/>
        <a:p>
          <a:endParaRPr lang="en-US"/>
        </a:p>
      </dgm:t>
    </dgm:pt>
    <dgm:pt modelId="{F59B03AB-16A4-4312-857B-13E39B969AB2}">
      <dgm:prSet/>
      <dgm:spPr/>
      <dgm:t>
        <a:bodyPr/>
        <a:lstStyle/>
        <a:p>
          <a:r>
            <a:rPr lang="en-US" baseline="0" dirty="0"/>
            <a:t>Reuse of plans offers performance benefits, as Optimization and compilation costs time and CPU</a:t>
          </a:r>
          <a:endParaRPr lang="en-US" dirty="0"/>
        </a:p>
      </dgm:t>
    </dgm:pt>
    <dgm:pt modelId="{FFB270C7-AE39-4FCA-BED7-6D43A41AC593}" type="parTrans" cxnId="{4AD44B15-023A-41DA-AB60-7F02A1BB1AF6}">
      <dgm:prSet/>
      <dgm:spPr/>
      <dgm:t>
        <a:bodyPr/>
        <a:lstStyle/>
        <a:p>
          <a:endParaRPr lang="en-US"/>
        </a:p>
      </dgm:t>
    </dgm:pt>
    <dgm:pt modelId="{D7782E6E-C63E-4E7A-B803-F7A6A0474DF2}" type="sibTrans" cxnId="{4AD44B15-023A-41DA-AB60-7F02A1BB1AF6}">
      <dgm:prSet/>
      <dgm:spPr/>
      <dgm:t>
        <a:bodyPr/>
        <a:lstStyle/>
        <a:p>
          <a:endParaRPr lang="en-US"/>
        </a:p>
      </dgm:t>
    </dgm:pt>
    <dgm:pt modelId="{53B53D5F-552B-4BFC-868A-A7924117CC1C}" type="pres">
      <dgm:prSet presAssocID="{791E6C2E-F468-4922-ADFA-CB176D57AE56}" presName="Name0" presStyleCnt="0">
        <dgm:presLayoutVars>
          <dgm:dir/>
          <dgm:animLvl val="lvl"/>
          <dgm:resizeHandles val="exact"/>
        </dgm:presLayoutVars>
      </dgm:prSet>
      <dgm:spPr/>
    </dgm:pt>
    <dgm:pt modelId="{B6901487-E911-4DF5-9F80-5AF9CA221FB4}" type="pres">
      <dgm:prSet presAssocID="{F60A2FDB-84A2-4D65-B284-BE8B17AF4D61}" presName="composite" presStyleCnt="0"/>
      <dgm:spPr/>
    </dgm:pt>
    <dgm:pt modelId="{156E92AD-9646-49C6-92C6-7697F0FCEAC9}" type="pres">
      <dgm:prSet presAssocID="{F60A2FDB-84A2-4D65-B284-BE8B17AF4D61}" presName="parTx" presStyleLbl="alignNode1" presStyleIdx="0" presStyleCnt="4">
        <dgm:presLayoutVars>
          <dgm:chMax val="0"/>
          <dgm:chPref val="0"/>
          <dgm:bulletEnabled val="1"/>
        </dgm:presLayoutVars>
      </dgm:prSet>
      <dgm:spPr/>
    </dgm:pt>
    <dgm:pt modelId="{BB2CEDAA-7259-4B19-80BA-6AF2B9F9DB6A}" type="pres">
      <dgm:prSet presAssocID="{F60A2FDB-84A2-4D65-B284-BE8B17AF4D61}" presName="desTx" presStyleLbl="alignAccFollowNode1" presStyleIdx="0" presStyleCnt="4">
        <dgm:presLayoutVars>
          <dgm:bulletEnabled val="1"/>
        </dgm:presLayoutVars>
      </dgm:prSet>
      <dgm:spPr/>
    </dgm:pt>
    <dgm:pt modelId="{1538BA7C-2474-4580-BC07-4559B043C799}" type="pres">
      <dgm:prSet presAssocID="{E70751FC-F60B-477F-ADBB-45FF4F807ED8}" presName="space" presStyleCnt="0"/>
      <dgm:spPr/>
    </dgm:pt>
    <dgm:pt modelId="{EB3E1F38-BB9B-4909-8424-9C1B29C4188A}" type="pres">
      <dgm:prSet presAssocID="{BD6C200C-C4FC-46BD-B87B-908CB172E70F}" presName="composite" presStyleCnt="0"/>
      <dgm:spPr/>
    </dgm:pt>
    <dgm:pt modelId="{14A07C91-1E8D-4C6D-B521-4E5A3EE74908}" type="pres">
      <dgm:prSet presAssocID="{BD6C200C-C4FC-46BD-B87B-908CB172E70F}" presName="parTx" presStyleLbl="alignNode1" presStyleIdx="1" presStyleCnt="4">
        <dgm:presLayoutVars>
          <dgm:chMax val="0"/>
          <dgm:chPref val="0"/>
          <dgm:bulletEnabled val="1"/>
        </dgm:presLayoutVars>
      </dgm:prSet>
      <dgm:spPr/>
    </dgm:pt>
    <dgm:pt modelId="{4E6BE486-DEA9-41D9-A616-79AFC943160D}" type="pres">
      <dgm:prSet presAssocID="{BD6C200C-C4FC-46BD-B87B-908CB172E70F}" presName="desTx" presStyleLbl="alignAccFollowNode1" presStyleIdx="1" presStyleCnt="4">
        <dgm:presLayoutVars>
          <dgm:bulletEnabled val="1"/>
        </dgm:presLayoutVars>
      </dgm:prSet>
      <dgm:spPr/>
    </dgm:pt>
    <dgm:pt modelId="{D65DCC23-E667-4AAB-9831-AF35B78C2632}" type="pres">
      <dgm:prSet presAssocID="{4C8F42BF-3875-4313-9445-C6F3E940407A}" presName="space" presStyleCnt="0"/>
      <dgm:spPr/>
    </dgm:pt>
    <dgm:pt modelId="{62B24EE6-50B4-4F25-846F-20EC615BCB3D}" type="pres">
      <dgm:prSet presAssocID="{23282C6B-4684-4713-9146-6C30E2F49654}" presName="composite" presStyleCnt="0"/>
      <dgm:spPr/>
    </dgm:pt>
    <dgm:pt modelId="{531E5255-D132-4ED6-B6D8-A36324628C1C}" type="pres">
      <dgm:prSet presAssocID="{23282C6B-4684-4713-9146-6C30E2F49654}" presName="parTx" presStyleLbl="alignNode1" presStyleIdx="2" presStyleCnt="4">
        <dgm:presLayoutVars>
          <dgm:chMax val="0"/>
          <dgm:chPref val="0"/>
          <dgm:bulletEnabled val="1"/>
        </dgm:presLayoutVars>
      </dgm:prSet>
      <dgm:spPr/>
    </dgm:pt>
    <dgm:pt modelId="{40D302C0-C526-4F9E-878A-6B0C2ED4A7FD}" type="pres">
      <dgm:prSet presAssocID="{23282C6B-4684-4713-9146-6C30E2F49654}" presName="desTx" presStyleLbl="alignAccFollowNode1" presStyleIdx="2" presStyleCnt="4">
        <dgm:presLayoutVars>
          <dgm:bulletEnabled val="1"/>
        </dgm:presLayoutVars>
      </dgm:prSet>
      <dgm:spPr/>
    </dgm:pt>
    <dgm:pt modelId="{4E976153-A74D-4809-BCA0-24DEEFB6B6FC}" type="pres">
      <dgm:prSet presAssocID="{61545D51-D75D-4C3E-AC8E-63787E84D1F8}" presName="space" presStyleCnt="0"/>
      <dgm:spPr/>
    </dgm:pt>
    <dgm:pt modelId="{DDC6D311-1D67-4AD4-9846-CB2EEC7A2453}" type="pres">
      <dgm:prSet presAssocID="{48F32901-B2CA-4180-8606-7BC8E77681BB}" presName="composite" presStyleCnt="0"/>
      <dgm:spPr/>
    </dgm:pt>
    <dgm:pt modelId="{9AA1F88A-0D3D-44E3-B97D-F5C371BAAFDD}" type="pres">
      <dgm:prSet presAssocID="{48F32901-B2CA-4180-8606-7BC8E77681BB}" presName="parTx" presStyleLbl="alignNode1" presStyleIdx="3" presStyleCnt="4">
        <dgm:presLayoutVars>
          <dgm:chMax val="0"/>
          <dgm:chPref val="0"/>
          <dgm:bulletEnabled val="1"/>
        </dgm:presLayoutVars>
      </dgm:prSet>
      <dgm:spPr/>
    </dgm:pt>
    <dgm:pt modelId="{36BF58D4-73A4-46FC-9420-8DEC30B32331}" type="pres">
      <dgm:prSet presAssocID="{48F32901-B2CA-4180-8606-7BC8E77681BB}" presName="desTx" presStyleLbl="alignAccFollowNode1" presStyleIdx="3" presStyleCnt="4">
        <dgm:presLayoutVars>
          <dgm:bulletEnabled val="1"/>
        </dgm:presLayoutVars>
      </dgm:prSet>
      <dgm:spPr/>
    </dgm:pt>
  </dgm:ptLst>
  <dgm:cxnLst>
    <dgm:cxn modelId="{A3EC4B0A-9BD2-4AB7-A099-BDA9A1379300}" type="presOf" srcId="{23282C6B-4684-4713-9146-6C30E2F49654}" destId="{531E5255-D132-4ED6-B6D8-A36324628C1C}" srcOrd="0" destOrd="0" presId="urn:microsoft.com/office/officeart/2005/8/layout/hList1"/>
    <dgm:cxn modelId="{DFDA7B0E-821C-4E64-AB98-C29ED46DA3D3}" type="presOf" srcId="{6D0C2C71-01D9-4F4C-BF75-CB4C972DF304}" destId="{40D302C0-C526-4F9E-878A-6B0C2ED4A7FD}" srcOrd="0" destOrd="0" presId="urn:microsoft.com/office/officeart/2005/8/layout/hList1"/>
    <dgm:cxn modelId="{BFDF6310-87E3-4086-BF5E-2B3148A86C2F}" type="presOf" srcId="{955784C0-64D8-4862-ACF7-C8E720175EC0}" destId="{36BF58D4-73A4-46FC-9420-8DEC30B32331}" srcOrd="0" destOrd="0" presId="urn:microsoft.com/office/officeart/2005/8/layout/hList1"/>
    <dgm:cxn modelId="{A1855012-BA36-4592-AAA3-7E5BE61E7F12}" srcId="{48F32901-B2CA-4180-8606-7BC8E77681BB}" destId="{955784C0-64D8-4862-ACF7-C8E720175EC0}" srcOrd="0" destOrd="0" parTransId="{9A674A26-661D-4794-A122-722337F36D3B}" sibTransId="{EB6F72F8-51B5-4814-8E04-B85141A47F83}"/>
    <dgm:cxn modelId="{4AD44B15-023A-41DA-AB60-7F02A1BB1AF6}" srcId="{23282C6B-4684-4713-9146-6C30E2F49654}" destId="{F59B03AB-16A4-4312-857B-13E39B969AB2}" srcOrd="1" destOrd="0" parTransId="{FFB270C7-AE39-4FCA-BED7-6D43A41AC593}" sibTransId="{D7782E6E-C63E-4E7A-B803-F7A6A0474DF2}"/>
    <dgm:cxn modelId="{2A7A701E-6483-4432-BDEA-ABE7643C8BD6}" type="presOf" srcId="{EC5C81BC-7F76-4FD4-85D9-DBBE9A4EFD65}" destId="{4E6BE486-DEA9-41D9-A616-79AFC943160D}" srcOrd="0" destOrd="0" presId="urn:microsoft.com/office/officeart/2005/8/layout/hList1"/>
    <dgm:cxn modelId="{FADEE81E-1989-4566-B480-EC58AE880AEF}" srcId="{23282C6B-4684-4713-9146-6C30E2F49654}" destId="{6D0C2C71-01D9-4F4C-BF75-CB4C972DF304}" srcOrd="0" destOrd="0" parTransId="{6744C273-82EB-409D-BC46-08F6D4DBF0B1}" sibTransId="{EC558CBE-E2C0-4C23-A6C3-4ED4BC21248A}"/>
    <dgm:cxn modelId="{36B87B20-4CD4-424B-9DCC-B1968746A3F6}" type="presOf" srcId="{F60A2FDB-84A2-4D65-B284-BE8B17AF4D61}" destId="{156E92AD-9646-49C6-92C6-7697F0FCEAC9}" srcOrd="0" destOrd="0" presId="urn:microsoft.com/office/officeart/2005/8/layout/hList1"/>
    <dgm:cxn modelId="{655CAD21-8545-4B81-A643-8D90320D8F71}" srcId="{48F32901-B2CA-4180-8606-7BC8E77681BB}" destId="{09274780-15D2-4D1D-95AF-097E202B80DE}" srcOrd="2" destOrd="0" parTransId="{0FCEDA34-F666-4518-989F-5129EBA859EE}" sibTransId="{F215F008-BB91-4559-A835-2048EAF1CB8B}"/>
    <dgm:cxn modelId="{240B8B25-43C2-4E20-96BB-79D6CA6B66E1}" srcId="{BD6C200C-C4FC-46BD-B87B-908CB172E70F}" destId="{EC5C81BC-7F76-4FD4-85D9-DBBE9A4EFD65}" srcOrd="0" destOrd="0" parTransId="{C265AC9C-EFD8-485C-8C5B-19702A19D623}" sibTransId="{7508DFF6-A2C6-4132-93F4-00069B45C7EA}"/>
    <dgm:cxn modelId="{672BDE2A-F3D5-47C7-9D1B-FD755A329BE0}" type="presOf" srcId="{F59B03AB-16A4-4312-857B-13E39B969AB2}" destId="{40D302C0-C526-4F9E-878A-6B0C2ED4A7FD}" srcOrd="0" destOrd="1" presId="urn:microsoft.com/office/officeart/2005/8/layout/hList1"/>
    <dgm:cxn modelId="{AF4ABB3E-2322-4B55-980C-A5B269945FCC}" type="presOf" srcId="{62BE30D5-C58B-4DDB-9955-8635E7CDB54D}" destId="{BB2CEDAA-7259-4B19-80BA-6AF2B9F9DB6A}" srcOrd="0" destOrd="0" presId="urn:microsoft.com/office/officeart/2005/8/layout/hList1"/>
    <dgm:cxn modelId="{1482804B-88B6-4F6F-AC3C-7A8E40FB9199}" type="presOf" srcId="{08C9FB33-742F-425D-A8B9-60137D3B6F01}" destId="{36BF58D4-73A4-46FC-9420-8DEC30B32331}" srcOrd="0" destOrd="1" presId="urn:microsoft.com/office/officeart/2005/8/layout/hList1"/>
    <dgm:cxn modelId="{0B63146E-3B8C-4710-8EF7-A9426E412091}" srcId="{48F32901-B2CA-4180-8606-7BC8E77681BB}" destId="{08C9FB33-742F-425D-A8B9-60137D3B6F01}" srcOrd="1" destOrd="0" parTransId="{12DD647E-F0C8-4FD9-9238-C5C3DB6603F3}" sibTransId="{43D9A90D-0B75-4580-B412-6F5E69926D2B}"/>
    <dgm:cxn modelId="{F40C037C-5FD0-4360-94AA-560CCB77EAE2}" srcId="{F60A2FDB-84A2-4D65-B284-BE8B17AF4D61}" destId="{62BE30D5-C58B-4DDB-9955-8635E7CDB54D}" srcOrd="0" destOrd="0" parTransId="{4020F0F1-DFA9-462A-A944-9FA20A993416}" sibTransId="{F7035A17-C27A-4E37-92B6-ED534566585D}"/>
    <dgm:cxn modelId="{D7BF9F89-AB71-4AD6-A3CA-CE6D15989151}" type="presOf" srcId="{48F32901-B2CA-4180-8606-7BC8E77681BB}" destId="{9AA1F88A-0D3D-44E3-B97D-F5C371BAAFDD}" srcOrd="0" destOrd="0" presId="urn:microsoft.com/office/officeart/2005/8/layout/hList1"/>
    <dgm:cxn modelId="{9B991698-142C-4789-B113-CC29E12787DB}" srcId="{791E6C2E-F468-4922-ADFA-CB176D57AE56}" destId="{BD6C200C-C4FC-46BD-B87B-908CB172E70F}" srcOrd="1" destOrd="0" parTransId="{D401E71A-F3A9-452D-9E1C-F4A3113BC68D}" sibTransId="{4C8F42BF-3875-4313-9445-C6F3E940407A}"/>
    <dgm:cxn modelId="{B7C74E9E-8780-4168-999A-8E09499294F9}" srcId="{791E6C2E-F468-4922-ADFA-CB176D57AE56}" destId="{23282C6B-4684-4713-9146-6C30E2F49654}" srcOrd="2" destOrd="0" parTransId="{5279FD8E-15ED-4B63-AA41-8DE6FC6CD742}" sibTransId="{61545D51-D75D-4C3E-AC8E-63787E84D1F8}"/>
    <dgm:cxn modelId="{BC98D9AC-0042-472B-B261-55B17655253B}" srcId="{791E6C2E-F468-4922-ADFA-CB176D57AE56}" destId="{48F32901-B2CA-4180-8606-7BC8E77681BB}" srcOrd="3" destOrd="0" parTransId="{3A5328FF-37CC-4A5D-AF0E-7AC975C9FE70}" sibTransId="{BE469B66-09CC-4875-AA82-62F1E701D310}"/>
    <dgm:cxn modelId="{380BA6B1-E891-4605-B5B8-25693536993E}" srcId="{791E6C2E-F468-4922-ADFA-CB176D57AE56}" destId="{F60A2FDB-84A2-4D65-B284-BE8B17AF4D61}" srcOrd="0" destOrd="0" parTransId="{D6EE3DE2-A97D-4917-B18A-CCA95C933C43}" sibTransId="{E70751FC-F60B-477F-ADBB-45FF4F807ED8}"/>
    <dgm:cxn modelId="{F87757D3-66FA-486D-9FB7-10D5A5F2ED15}" type="presOf" srcId="{BD6C200C-C4FC-46BD-B87B-908CB172E70F}" destId="{14A07C91-1E8D-4C6D-B521-4E5A3EE74908}" srcOrd="0" destOrd="0" presId="urn:microsoft.com/office/officeart/2005/8/layout/hList1"/>
    <dgm:cxn modelId="{E47DFDD5-B6C2-4A37-9D41-D370669B079B}" type="presOf" srcId="{791E6C2E-F468-4922-ADFA-CB176D57AE56}" destId="{53B53D5F-552B-4BFC-868A-A7924117CC1C}" srcOrd="0" destOrd="0" presId="urn:microsoft.com/office/officeart/2005/8/layout/hList1"/>
    <dgm:cxn modelId="{2A9E29D7-4623-4363-9C74-8EEBF4ABBB15}" type="presOf" srcId="{09274780-15D2-4D1D-95AF-097E202B80DE}" destId="{36BF58D4-73A4-46FC-9420-8DEC30B32331}" srcOrd="0" destOrd="2" presId="urn:microsoft.com/office/officeart/2005/8/layout/hList1"/>
    <dgm:cxn modelId="{3D57DF5B-170B-477A-8AEA-DCAC965BB3CA}" type="presParOf" srcId="{53B53D5F-552B-4BFC-868A-A7924117CC1C}" destId="{B6901487-E911-4DF5-9F80-5AF9CA221FB4}" srcOrd="0" destOrd="0" presId="urn:microsoft.com/office/officeart/2005/8/layout/hList1"/>
    <dgm:cxn modelId="{603989E8-5204-4B71-B441-FC2F141034BB}" type="presParOf" srcId="{B6901487-E911-4DF5-9F80-5AF9CA221FB4}" destId="{156E92AD-9646-49C6-92C6-7697F0FCEAC9}" srcOrd="0" destOrd="0" presId="urn:microsoft.com/office/officeart/2005/8/layout/hList1"/>
    <dgm:cxn modelId="{5794F0CD-BF4D-4A1F-BB31-585E22BC23A1}" type="presParOf" srcId="{B6901487-E911-4DF5-9F80-5AF9CA221FB4}" destId="{BB2CEDAA-7259-4B19-80BA-6AF2B9F9DB6A}" srcOrd="1" destOrd="0" presId="urn:microsoft.com/office/officeart/2005/8/layout/hList1"/>
    <dgm:cxn modelId="{442E6776-AD34-4847-A746-270B8C306F8A}" type="presParOf" srcId="{53B53D5F-552B-4BFC-868A-A7924117CC1C}" destId="{1538BA7C-2474-4580-BC07-4559B043C799}" srcOrd="1" destOrd="0" presId="urn:microsoft.com/office/officeart/2005/8/layout/hList1"/>
    <dgm:cxn modelId="{9F2181A4-2B8A-4454-A8C7-2F5589F70DC5}" type="presParOf" srcId="{53B53D5F-552B-4BFC-868A-A7924117CC1C}" destId="{EB3E1F38-BB9B-4909-8424-9C1B29C4188A}" srcOrd="2" destOrd="0" presId="urn:microsoft.com/office/officeart/2005/8/layout/hList1"/>
    <dgm:cxn modelId="{F021E0F6-1305-4C11-A2A7-F24F1E4437EA}" type="presParOf" srcId="{EB3E1F38-BB9B-4909-8424-9C1B29C4188A}" destId="{14A07C91-1E8D-4C6D-B521-4E5A3EE74908}" srcOrd="0" destOrd="0" presId="urn:microsoft.com/office/officeart/2005/8/layout/hList1"/>
    <dgm:cxn modelId="{605F939E-7F4C-479B-9BB3-D71B090B4FE2}" type="presParOf" srcId="{EB3E1F38-BB9B-4909-8424-9C1B29C4188A}" destId="{4E6BE486-DEA9-41D9-A616-79AFC943160D}" srcOrd="1" destOrd="0" presId="urn:microsoft.com/office/officeart/2005/8/layout/hList1"/>
    <dgm:cxn modelId="{BDEE7D3E-4DA9-46C2-93D1-9465CA2AF161}" type="presParOf" srcId="{53B53D5F-552B-4BFC-868A-A7924117CC1C}" destId="{D65DCC23-E667-4AAB-9831-AF35B78C2632}" srcOrd="3" destOrd="0" presId="urn:microsoft.com/office/officeart/2005/8/layout/hList1"/>
    <dgm:cxn modelId="{DFDBE477-4A90-4862-A818-4518ABE0300E}" type="presParOf" srcId="{53B53D5F-552B-4BFC-868A-A7924117CC1C}" destId="{62B24EE6-50B4-4F25-846F-20EC615BCB3D}" srcOrd="4" destOrd="0" presId="urn:microsoft.com/office/officeart/2005/8/layout/hList1"/>
    <dgm:cxn modelId="{05570593-6555-4D24-97F4-78AEB252CB2C}" type="presParOf" srcId="{62B24EE6-50B4-4F25-846F-20EC615BCB3D}" destId="{531E5255-D132-4ED6-B6D8-A36324628C1C}" srcOrd="0" destOrd="0" presId="urn:microsoft.com/office/officeart/2005/8/layout/hList1"/>
    <dgm:cxn modelId="{3D8632D4-694E-4245-86D8-CF9AABB302D8}" type="presParOf" srcId="{62B24EE6-50B4-4F25-846F-20EC615BCB3D}" destId="{40D302C0-C526-4F9E-878A-6B0C2ED4A7FD}" srcOrd="1" destOrd="0" presId="urn:microsoft.com/office/officeart/2005/8/layout/hList1"/>
    <dgm:cxn modelId="{1CA2E230-EA81-4126-9BC0-8EC8EB2E7B2B}" type="presParOf" srcId="{53B53D5F-552B-4BFC-868A-A7924117CC1C}" destId="{4E976153-A74D-4809-BCA0-24DEEFB6B6FC}" srcOrd="5" destOrd="0" presId="urn:microsoft.com/office/officeart/2005/8/layout/hList1"/>
    <dgm:cxn modelId="{0D22DE9D-B78C-4A5F-B79B-1F6A5BAC9E31}" type="presParOf" srcId="{53B53D5F-552B-4BFC-868A-A7924117CC1C}" destId="{DDC6D311-1D67-4AD4-9846-CB2EEC7A2453}" srcOrd="6" destOrd="0" presId="urn:microsoft.com/office/officeart/2005/8/layout/hList1"/>
    <dgm:cxn modelId="{90553A1E-F687-4A63-90AF-6EBFE3336DE6}" type="presParOf" srcId="{DDC6D311-1D67-4AD4-9846-CB2EEC7A2453}" destId="{9AA1F88A-0D3D-44E3-B97D-F5C371BAAFDD}" srcOrd="0" destOrd="0" presId="urn:microsoft.com/office/officeart/2005/8/layout/hList1"/>
    <dgm:cxn modelId="{0B63B462-C281-4838-AF00-35564DB4A79E}" type="presParOf" srcId="{DDC6D311-1D67-4AD4-9846-CB2EEC7A2453}" destId="{36BF58D4-73A4-46FC-9420-8DEC30B3233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3B127D6-B202-41CE-859F-A9536CC11A65}" type="doc">
      <dgm:prSet loTypeId="urn:microsoft.com/office/officeart/2005/8/layout/vList6" loCatId="list" qsTypeId="urn:microsoft.com/office/officeart/2005/8/quickstyle/simple1" qsCatId="simple" csTypeId="urn:microsoft.com/office/officeart/2005/8/colors/accent2_2" csCatId="accent2" phldr="1"/>
      <dgm:spPr/>
      <dgm:t>
        <a:bodyPr/>
        <a:lstStyle/>
        <a:p>
          <a:endParaRPr lang="en-US"/>
        </a:p>
      </dgm:t>
    </dgm:pt>
    <dgm:pt modelId="{04AD0EF0-D6FF-4038-A757-AB73630C29D8}">
      <dgm:prSet custT="1"/>
      <dgm:spPr/>
      <dgm:t>
        <a:bodyPr/>
        <a:lstStyle/>
        <a:p>
          <a:r>
            <a:rPr lang="en-US" sz="2400" baseline="0" dirty="0"/>
            <a:t>sys.dm_exec_cached_plans</a:t>
          </a:r>
          <a:endParaRPr lang="en-US" sz="2400" dirty="0"/>
        </a:p>
      </dgm:t>
    </dgm:pt>
    <dgm:pt modelId="{3364A55B-1D4B-444F-A5B4-4A6B26961A08}" type="parTrans" cxnId="{5265EA97-BA1F-4EA8-90B1-E3086447C344}">
      <dgm:prSet/>
      <dgm:spPr/>
      <dgm:t>
        <a:bodyPr/>
        <a:lstStyle/>
        <a:p>
          <a:endParaRPr lang="en-US"/>
        </a:p>
      </dgm:t>
    </dgm:pt>
    <dgm:pt modelId="{819F637C-BD62-46F3-97B5-73CEB7A36381}" type="sibTrans" cxnId="{5265EA97-BA1F-4EA8-90B1-E3086447C344}">
      <dgm:prSet/>
      <dgm:spPr/>
      <dgm:t>
        <a:bodyPr/>
        <a:lstStyle/>
        <a:p>
          <a:endParaRPr lang="en-US"/>
        </a:p>
      </dgm:t>
    </dgm:pt>
    <dgm:pt modelId="{F71545CF-346A-44D1-94CF-B682DEA980F4}">
      <dgm:prSet/>
      <dgm:spPr/>
      <dgm:t>
        <a:bodyPr/>
        <a:lstStyle/>
        <a:p>
          <a:r>
            <a:rPr lang="en-US" dirty="0"/>
            <a:t>Plan type, size and handle</a:t>
          </a:r>
        </a:p>
      </dgm:t>
    </dgm:pt>
    <dgm:pt modelId="{4597E3A5-2797-49E1-A20E-3F4E84B2B738}" type="parTrans" cxnId="{291540DB-4253-4924-BEC8-171835015E99}">
      <dgm:prSet/>
      <dgm:spPr/>
      <dgm:t>
        <a:bodyPr/>
        <a:lstStyle/>
        <a:p>
          <a:endParaRPr lang="en-US"/>
        </a:p>
      </dgm:t>
    </dgm:pt>
    <dgm:pt modelId="{13AF8E62-FBDA-4E12-8097-07A0C7AECB9A}" type="sibTrans" cxnId="{291540DB-4253-4924-BEC8-171835015E99}">
      <dgm:prSet/>
      <dgm:spPr/>
      <dgm:t>
        <a:bodyPr/>
        <a:lstStyle/>
        <a:p>
          <a:endParaRPr lang="en-US"/>
        </a:p>
      </dgm:t>
    </dgm:pt>
    <dgm:pt modelId="{7FDE9BCB-4D03-4BDB-ADEA-F7581269CF9F}">
      <dgm:prSet custT="1"/>
      <dgm:spPr/>
      <dgm:t>
        <a:bodyPr/>
        <a:lstStyle/>
        <a:p>
          <a:r>
            <a:rPr lang="en-US" sz="2400" baseline="0" dirty="0"/>
            <a:t>sys.dm_exec_query_stats</a:t>
          </a:r>
          <a:endParaRPr lang="en-US" sz="2400" dirty="0"/>
        </a:p>
      </dgm:t>
    </dgm:pt>
    <dgm:pt modelId="{6C70A401-7D91-4526-AF1B-503BD4D075F6}" type="parTrans" cxnId="{E1DF7EDC-91A9-46A4-88BC-B2D79E9C1C8B}">
      <dgm:prSet/>
      <dgm:spPr/>
      <dgm:t>
        <a:bodyPr/>
        <a:lstStyle/>
        <a:p>
          <a:endParaRPr lang="en-US"/>
        </a:p>
      </dgm:t>
    </dgm:pt>
    <dgm:pt modelId="{75BAFCB1-9A89-4714-B653-BA598DA2AADB}" type="sibTrans" cxnId="{E1DF7EDC-91A9-46A4-88BC-B2D79E9C1C8B}">
      <dgm:prSet/>
      <dgm:spPr/>
      <dgm:t>
        <a:bodyPr/>
        <a:lstStyle/>
        <a:p>
          <a:endParaRPr lang="en-US"/>
        </a:p>
      </dgm:t>
    </dgm:pt>
    <dgm:pt modelId="{609C4653-2524-4161-8924-63ECBFD8719E}">
      <dgm:prSet/>
      <dgm:spPr/>
      <dgm:t>
        <a:bodyPr/>
        <a:lstStyle/>
        <a:p>
          <a:r>
            <a:rPr lang="en-US" baseline="0" dirty="0"/>
            <a:t>Execution metrics for individual statements</a:t>
          </a:r>
          <a:endParaRPr lang="en-US" dirty="0"/>
        </a:p>
      </dgm:t>
    </dgm:pt>
    <dgm:pt modelId="{18591B58-F038-44E5-8842-3C484D2CFCBF}" type="parTrans" cxnId="{36641EDC-3994-4B2A-B437-39DA6C514DEF}">
      <dgm:prSet/>
      <dgm:spPr/>
      <dgm:t>
        <a:bodyPr/>
        <a:lstStyle/>
        <a:p>
          <a:endParaRPr lang="en-US"/>
        </a:p>
      </dgm:t>
    </dgm:pt>
    <dgm:pt modelId="{7A25E1B1-F8E0-4170-AE64-7C6206FA9618}" type="sibTrans" cxnId="{36641EDC-3994-4B2A-B437-39DA6C514DEF}">
      <dgm:prSet/>
      <dgm:spPr/>
      <dgm:t>
        <a:bodyPr/>
        <a:lstStyle/>
        <a:p>
          <a:endParaRPr lang="en-US"/>
        </a:p>
      </dgm:t>
    </dgm:pt>
    <dgm:pt modelId="{CCA323D9-642F-45C1-8E72-56172435493E}">
      <dgm:prSet custT="1"/>
      <dgm:spPr/>
      <dgm:t>
        <a:bodyPr/>
        <a:lstStyle/>
        <a:p>
          <a:r>
            <a:rPr lang="en-US" sz="2400" baseline="0" dirty="0"/>
            <a:t>sys.dm_exec_query_plan()</a:t>
          </a:r>
          <a:endParaRPr lang="en-US" sz="2400" dirty="0"/>
        </a:p>
      </dgm:t>
    </dgm:pt>
    <dgm:pt modelId="{7842FB8C-1677-43A9-BDBA-15C2EFA725EA}" type="parTrans" cxnId="{FB7B4F75-EFD9-4F32-95A0-9544100F27F4}">
      <dgm:prSet/>
      <dgm:spPr/>
      <dgm:t>
        <a:bodyPr/>
        <a:lstStyle/>
        <a:p>
          <a:endParaRPr lang="en-US"/>
        </a:p>
      </dgm:t>
    </dgm:pt>
    <dgm:pt modelId="{DC11CA20-F289-4E34-BDB6-FAB9743E5A66}" type="sibTrans" cxnId="{FB7B4F75-EFD9-4F32-95A0-9544100F27F4}">
      <dgm:prSet/>
      <dgm:spPr/>
      <dgm:t>
        <a:bodyPr/>
        <a:lstStyle/>
        <a:p>
          <a:endParaRPr lang="en-US"/>
        </a:p>
      </dgm:t>
    </dgm:pt>
    <dgm:pt modelId="{B44B91CD-E277-46C6-A070-BB59D64616FE}">
      <dgm:prSet/>
      <dgm:spPr/>
      <dgm:t>
        <a:bodyPr/>
        <a:lstStyle/>
        <a:p>
          <a:r>
            <a:rPr lang="en-US" baseline="0" dirty="0"/>
            <a:t>Takes a plan_handle and returns the associated XML plan </a:t>
          </a:r>
          <a:endParaRPr lang="en-US" dirty="0"/>
        </a:p>
      </dgm:t>
    </dgm:pt>
    <dgm:pt modelId="{155B7CA7-6EF1-4608-9347-DF87D876D227}" type="parTrans" cxnId="{F17FC849-64A1-4F96-883D-1358B2661B4D}">
      <dgm:prSet/>
      <dgm:spPr/>
      <dgm:t>
        <a:bodyPr/>
        <a:lstStyle/>
        <a:p>
          <a:endParaRPr lang="en-US"/>
        </a:p>
      </dgm:t>
    </dgm:pt>
    <dgm:pt modelId="{5B77BF48-A54A-444E-8CB0-B18E7DD65AAC}" type="sibTrans" cxnId="{F17FC849-64A1-4F96-883D-1358B2661B4D}">
      <dgm:prSet/>
      <dgm:spPr/>
      <dgm:t>
        <a:bodyPr/>
        <a:lstStyle/>
        <a:p>
          <a:endParaRPr lang="en-US"/>
        </a:p>
      </dgm:t>
    </dgm:pt>
    <dgm:pt modelId="{081CF36B-6A77-4296-9254-1D9087D7ADA8}">
      <dgm:prSet custT="1"/>
      <dgm:spPr/>
      <dgm:t>
        <a:bodyPr/>
        <a:lstStyle/>
        <a:p>
          <a:pPr algn="ctr"/>
          <a:r>
            <a:rPr lang="en-US" sz="2400" baseline="0" dirty="0"/>
            <a:t>sys.dm_exec_sql_text()</a:t>
          </a:r>
          <a:endParaRPr lang="en-US" sz="2400" dirty="0"/>
        </a:p>
      </dgm:t>
    </dgm:pt>
    <dgm:pt modelId="{85D4CF45-00F0-49F2-B4AF-7EF38186E240}" type="parTrans" cxnId="{E481D74B-F8E8-41A1-8832-98DAD6FAE3C5}">
      <dgm:prSet/>
      <dgm:spPr/>
      <dgm:t>
        <a:bodyPr/>
        <a:lstStyle/>
        <a:p>
          <a:endParaRPr lang="en-US"/>
        </a:p>
      </dgm:t>
    </dgm:pt>
    <dgm:pt modelId="{47BE6DBA-0897-4EF7-9FC9-AE83A5F75041}" type="sibTrans" cxnId="{E481D74B-F8E8-41A1-8832-98DAD6FAE3C5}">
      <dgm:prSet/>
      <dgm:spPr/>
      <dgm:t>
        <a:bodyPr/>
        <a:lstStyle/>
        <a:p>
          <a:endParaRPr lang="en-US"/>
        </a:p>
      </dgm:t>
    </dgm:pt>
    <dgm:pt modelId="{62C689BA-47C9-43B6-B4C7-A0C3B5A40739}">
      <dgm:prSet/>
      <dgm:spPr/>
      <dgm:t>
        <a:bodyPr/>
        <a:lstStyle/>
        <a:p>
          <a:r>
            <a:rPr lang="en-US" baseline="0" dirty="0"/>
            <a:t>Takes a plan_handle or sql_handle and returns the associated SQL batch</a:t>
          </a:r>
          <a:endParaRPr lang="en-US" dirty="0"/>
        </a:p>
      </dgm:t>
    </dgm:pt>
    <dgm:pt modelId="{311669E3-D9AD-4E46-8625-558EBCB85B62}" type="parTrans" cxnId="{89B88349-6A67-4505-BC4F-5552AF89FFF2}">
      <dgm:prSet/>
      <dgm:spPr/>
      <dgm:t>
        <a:bodyPr/>
        <a:lstStyle/>
        <a:p>
          <a:endParaRPr lang="en-US"/>
        </a:p>
      </dgm:t>
    </dgm:pt>
    <dgm:pt modelId="{41FB5C0A-46C1-43D3-90EC-D1329B481873}" type="sibTrans" cxnId="{89B88349-6A67-4505-BC4F-5552AF89FFF2}">
      <dgm:prSet/>
      <dgm:spPr/>
      <dgm:t>
        <a:bodyPr/>
        <a:lstStyle/>
        <a:p>
          <a:endParaRPr lang="en-US"/>
        </a:p>
      </dgm:t>
    </dgm:pt>
    <dgm:pt modelId="{41B114B4-2075-481F-8666-65F14F2E771D}" type="pres">
      <dgm:prSet presAssocID="{43B127D6-B202-41CE-859F-A9536CC11A65}" presName="Name0" presStyleCnt="0">
        <dgm:presLayoutVars>
          <dgm:dir/>
          <dgm:animLvl val="lvl"/>
          <dgm:resizeHandles/>
        </dgm:presLayoutVars>
      </dgm:prSet>
      <dgm:spPr/>
    </dgm:pt>
    <dgm:pt modelId="{BB654D36-B336-424D-888A-0D63493F46B8}" type="pres">
      <dgm:prSet presAssocID="{04AD0EF0-D6FF-4038-A757-AB73630C29D8}" presName="linNode" presStyleCnt="0"/>
      <dgm:spPr/>
    </dgm:pt>
    <dgm:pt modelId="{54391A25-D2D9-4355-B400-2D7370C7C8CE}" type="pres">
      <dgm:prSet presAssocID="{04AD0EF0-D6FF-4038-A757-AB73630C29D8}" presName="parentShp" presStyleLbl="node1" presStyleIdx="0" presStyleCnt="4">
        <dgm:presLayoutVars>
          <dgm:bulletEnabled val="1"/>
        </dgm:presLayoutVars>
      </dgm:prSet>
      <dgm:spPr/>
    </dgm:pt>
    <dgm:pt modelId="{097E8114-12F3-469E-A27B-D86B1C6D839A}" type="pres">
      <dgm:prSet presAssocID="{04AD0EF0-D6FF-4038-A757-AB73630C29D8}" presName="childShp" presStyleLbl="bgAccFollowNode1" presStyleIdx="0" presStyleCnt="4">
        <dgm:presLayoutVars>
          <dgm:bulletEnabled val="1"/>
        </dgm:presLayoutVars>
      </dgm:prSet>
      <dgm:spPr/>
    </dgm:pt>
    <dgm:pt modelId="{4820B8F6-7CF0-40C3-8592-369BAB053290}" type="pres">
      <dgm:prSet presAssocID="{819F637C-BD62-46F3-97B5-73CEB7A36381}" presName="spacing" presStyleCnt="0"/>
      <dgm:spPr/>
    </dgm:pt>
    <dgm:pt modelId="{85A54C36-5914-417F-9884-C0442FF58314}" type="pres">
      <dgm:prSet presAssocID="{7FDE9BCB-4D03-4BDB-ADEA-F7581269CF9F}" presName="linNode" presStyleCnt="0"/>
      <dgm:spPr/>
    </dgm:pt>
    <dgm:pt modelId="{77C55A6C-86CD-46F6-A7BC-CD989BF29AD3}" type="pres">
      <dgm:prSet presAssocID="{7FDE9BCB-4D03-4BDB-ADEA-F7581269CF9F}" presName="parentShp" presStyleLbl="node1" presStyleIdx="1" presStyleCnt="4">
        <dgm:presLayoutVars>
          <dgm:bulletEnabled val="1"/>
        </dgm:presLayoutVars>
      </dgm:prSet>
      <dgm:spPr/>
    </dgm:pt>
    <dgm:pt modelId="{DD3870A4-BF67-43F5-BD9C-EFCAFD36AF9C}" type="pres">
      <dgm:prSet presAssocID="{7FDE9BCB-4D03-4BDB-ADEA-F7581269CF9F}" presName="childShp" presStyleLbl="bgAccFollowNode1" presStyleIdx="1" presStyleCnt="4">
        <dgm:presLayoutVars>
          <dgm:bulletEnabled val="1"/>
        </dgm:presLayoutVars>
      </dgm:prSet>
      <dgm:spPr/>
    </dgm:pt>
    <dgm:pt modelId="{049F547D-F5E4-4341-ABFB-A5326E94C2FD}" type="pres">
      <dgm:prSet presAssocID="{75BAFCB1-9A89-4714-B653-BA598DA2AADB}" presName="spacing" presStyleCnt="0"/>
      <dgm:spPr/>
    </dgm:pt>
    <dgm:pt modelId="{8B18237F-CB70-41C0-806D-C2B1ABB4550F}" type="pres">
      <dgm:prSet presAssocID="{CCA323D9-642F-45C1-8E72-56172435493E}" presName="linNode" presStyleCnt="0"/>
      <dgm:spPr/>
    </dgm:pt>
    <dgm:pt modelId="{688B86EE-D10B-46C7-84F8-8C0C61F717C8}" type="pres">
      <dgm:prSet presAssocID="{CCA323D9-642F-45C1-8E72-56172435493E}" presName="parentShp" presStyleLbl="node1" presStyleIdx="2" presStyleCnt="4">
        <dgm:presLayoutVars>
          <dgm:bulletEnabled val="1"/>
        </dgm:presLayoutVars>
      </dgm:prSet>
      <dgm:spPr/>
    </dgm:pt>
    <dgm:pt modelId="{1DC62910-F5B0-4E12-AD2C-26B51B70F214}" type="pres">
      <dgm:prSet presAssocID="{CCA323D9-642F-45C1-8E72-56172435493E}" presName="childShp" presStyleLbl="bgAccFollowNode1" presStyleIdx="2" presStyleCnt="4">
        <dgm:presLayoutVars>
          <dgm:bulletEnabled val="1"/>
        </dgm:presLayoutVars>
      </dgm:prSet>
      <dgm:spPr/>
    </dgm:pt>
    <dgm:pt modelId="{6B8532DA-A002-4BDB-9063-DB94DCA0C567}" type="pres">
      <dgm:prSet presAssocID="{DC11CA20-F289-4E34-BDB6-FAB9743E5A66}" presName="spacing" presStyleCnt="0"/>
      <dgm:spPr/>
    </dgm:pt>
    <dgm:pt modelId="{E5B2ED6C-AE68-44CD-8657-CA3977AF12CD}" type="pres">
      <dgm:prSet presAssocID="{081CF36B-6A77-4296-9254-1D9087D7ADA8}" presName="linNode" presStyleCnt="0"/>
      <dgm:spPr/>
    </dgm:pt>
    <dgm:pt modelId="{19D55732-39F8-4659-9F37-B937D64447A3}" type="pres">
      <dgm:prSet presAssocID="{081CF36B-6A77-4296-9254-1D9087D7ADA8}" presName="parentShp" presStyleLbl="node1" presStyleIdx="3" presStyleCnt="4">
        <dgm:presLayoutVars>
          <dgm:bulletEnabled val="1"/>
        </dgm:presLayoutVars>
      </dgm:prSet>
      <dgm:spPr/>
    </dgm:pt>
    <dgm:pt modelId="{B61DEA13-FD87-4FB8-AB97-821EA9B9B040}" type="pres">
      <dgm:prSet presAssocID="{081CF36B-6A77-4296-9254-1D9087D7ADA8}" presName="childShp" presStyleLbl="bgAccFollowNode1" presStyleIdx="3" presStyleCnt="4">
        <dgm:presLayoutVars>
          <dgm:bulletEnabled val="1"/>
        </dgm:presLayoutVars>
      </dgm:prSet>
      <dgm:spPr/>
    </dgm:pt>
  </dgm:ptLst>
  <dgm:cxnLst>
    <dgm:cxn modelId="{83E8900D-B709-4B90-97A1-463973FEC34A}" type="presOf" srcId="{081CF36B-6A77-4296-9254-1D9087D7ADA8}" destId="{19D55732-39F8-4659-9F37-B937D64447A3}" srcOrd="0" destOrd="0" presId="urn:microsoft.com/office/officeart/2005/8/layout/vList6"/>
    <dgm:cxn modelId="{7472591B-301B-4592-B5FD-E2DEE86BEE46}" type="presOf" srcId="{04AD0EF0-D6FF-4038-A757-AB73630C29D8}" destId="{54391A25-D2D9-4355-B400-2D7370C7C8CE}" srcOrd="0" destOrd="0" presId="urn:microsoft.com/office/officeart/2005/8/layout/vList6"/>
    <dgm:cxn modelId="{368E0335-E8B8-45D4-B3E2-AE7AFDAA512C}" type="presOf" srcId="{F71545CF-346A-44D1-94CF-B682DEA980F4}" destId="{097E8114-12F3-469E-A27B-D86B1C6D839A}" srcOrd="0" destOrd="0" presId="urn:microsoft.com/office/officeart/2005/8/layout/vList6"/>
    <dgm:cxn modelId="{4811A843-0D5D-4713-9639-0BA99CEFE94F}" type="presOf" srcId="{43B127D6-B202-41CE-859F-A9536CC11A65}" destId="{41B114B4-2075-481F-8666-65F14F2E771D}" srcOrd="0" destOrd="0" presId="urn:microsoft.com/office/officeart/2005/8/layout/vList6"/>
    <dgm:cxn modelId="{89B88349-6A67-4505-BC4F-5552AF89FFF2}" srcId="{081CF36B-6A77-4296-9254-1D9087D7ADA8}" destId="{62C689BA-47C9-43B6-B4C7-A0C3B5A40739}" srcOrd="0" destOrd="0" parTransId="{311669E3-D9AD-4E46-8625-558EBCB85B62}" sibTransId="{41FB5C0A-46C1-43D3-90EC-D1329B481873}"/>
    <dgm:cxn modelId="{F17FC849-64A1-4F96-883D-1358B2661B4D}" srcId="{CCA323D9-642F-45C1-8E72-56172435493E}" destId="{B44B91CD-E277-46C6-A070-BB59D64616FE}" srcOrd="0" destOrd="0" parTransId="{155B7CA7-6EF1-4608-9347-DF87D876D227}" sibTransId="{5B77BF48-A54A-444E-8CB0-B18E7DD65AAC}"/>
    <dgm:cxn modelId="{E481D74B-F8E8-41A1-8832-98DAD6FAE3C5}" srcId="{43B127D6-B202-41CE-859F-A9536CC11A65}" destId="{081CF36B-6A77-4296-9254-1D9087D7ADA8}" srcOrd="3" destOrd="0" parTransId="{85D4CF45-00F0-49F2-B4AF-7EF38186E240}" sibTransId="{47BE6DBA-0897-4EF7-9FC9-AE83A5F75041}"/>
    <dgm:cxn modelId="{FB7B4F75-EFD9-4F32-95A0-9544100F27F4}" srcId="{43B127D6-B202-41CE-859F-A9536CC11A65}" destId="{CCA323D9-642F-45C1-8E72-56172435493E}" srcOrd="2" destOrd="0" parTransId="{7842FB8C-1677-43A9-BDBA-15C2EFA725EA}" sibTransId="{DC11CA20-F289-4E34-BDB6-FAB9743E5A66}"/>
    <dgm:cxn modelId="{C3EEFB80-1ACE-4667-9F36-FD1CCF7D50E5}" type="presOf" srcId="{7FDE9BCB-4D03-4BDB-ADEA-F7581269CF9F}" destId="{77C55A6C-86CD-46F6-A7BC-CD989BF29AD3}" srcOrd="0" destOrd="0" presId="urn:microsoft.com/office/officeart/2005/8/layout/vList6"/>
    <dgm:cxn modelId="{5265EA97-BA1F-4EA8-90B1-E3086447C344}" srcId="{43B127D6-B202-41CE-859F-A9536CC11A65}" destId="{04AD0EF0-D6FF-4038-A757-AB73630C29D8}" srcOrd="0" destOrd="0" parTransId="{3364A55B-1D4B-444F-A5B4-4A6B26961A08}" sibTransId="{819F637C-BD62-46F3-97B5-73CEB7A36381}"/>
    <dgm:cxn modelId="{0CD87B9B-A778-4049-BFBD-319F65F846C6}" type="presOf" srcId="{CCA323D9-642F-45C1-8E72-56172435493E}" destId="{688B86EE-D10B-46C7-84F8-8C0C61F717C8}" srcOrd="0" destOrd="0" presId="urn:microsoft.com/office/officeart/2005/8/layout/vList6"/>
    <dgm:cxn modelId="{42D897A3-BA63-4A12-B825-02025533ADB7}" type="presOf" srcId="{62C689BA-47C9-43B6-B4C7-A0C3B5A40739}" destId="{B61DEA13-FD87-4FB8-AB97-821EA9B9B040}" srcOrd="0" destOrd="0" presId="urn:microsoft.com/office/officeart/2005/8/layout/vList6"/>
    <dgm:cxn modelId="{291540DB-4253-4924-BEC8-171835015E99}" srcId="{04AD0EF0-D6FF-4038-A757-AB73630C29D8}" destId="{F71545CF-346A-44D1-94CF-B682DEA980F4}" srcOrd="0" destOrd="0" parTransId="{4597E3A5-2797-49E1-A20E-3F4E84B2B738}" sibTransId="{13AF8E62-FBDA-4E12-8097-07A0C7AECB9A}"/>
    <dgm:cxn modelId="{36641EDC-3994-4B2A-B437-39DA6C514DEF}" srcId="{7FDE9BCB-4D03-4BDB-ADEA-F7581269CF9F}" destId="{609C4653-2524-4161-8924-63ECBFD8719E}" srcOrd="0" destOrd="0" parTransId="{18591B58-F038-44E5-8842-3C484D2CFCBF}" sibTransId="{7A25E1B1-F8E0-4170-AE64-7C6206FA9618}"/>
    <dgm:cxn modelId="{E1DF7EDC-91A9-46A4-88BC-B2D79E9C1C8B}" srcId="{43B127D6-B202-41CE-859F-A9536CC11A65}" destId="{7FDE9BCB-4D03-4BDB-ADEA-F7581269CF9F}" srcOrd="1" destOrd="0" parTransId="{6C70A401-7D91-4526-AF1B-503BD4D075F6}" sibTransId="{75BAFCB1-9A89-4714-B653-BA598DA2AADB}"/>
    <dgm:cxn modelId="{606043E9-3113-4CFC-931B-F6D0C80579FB}" type="presOf" srcId="{B44B91CD-E277-46C6-A070-BB59D64616FE}" destId="{1DC62910-F5B0-4E12-AD2C-26B51B70F214}" srcOrd="0" destOrd="0" presId="urn:microsoft.com/office/officeart/2005/8/layout/vList6"/>
    <dgm:cxn modelId="{8273B5F8-4AF1-4B37-B6B5-1157D0A5FD31}" type="presOf" srcId="{609C4653-2524-4161-8924-63ECBFD8719E}" destId="{DD3870A4-BF67-43F5-BD9C-EFCAFD36AF9C}" srcOrd="0" destOrd="0" presId="urn:microsoft.com/office/officeart/2005/8/layout/vList6"/>
    <dgm:cxn modelId="{77E33757-A4EF-46C0-9524-4A8993DF311C}" type="presParOf" srcId="{41B114B4-2075-481F-8666-65F14F2E771D}" destId="{BB654D36-B336-424D-888A-0D63493F46B8}" srcOrd="0" destOrd="0" presId="urn:microsoft.com/office/officeart/2005/8/layout/vList6"/>
    <dgm:cxn modelId="{5D44153C-3449-4A9C-BAD1-2FA0073DEE09}" type="presParOf" srcId="{BB654D36-B336-424D-888A-0D63493F46B8}" destId="{54391A25-D2D9-4355-B400-2D7370C7C8CE}" srcOrd="0" destOrd="0" presId="urn:microsoft.com/office/officeart/2005/8/layout/vList6"/>
    <dgm:cxn modelId="{E8CBC6F7-819F-4663-B15A-ABAD0482B02B}" type="presParOf" srcId="{BB654D36-B336-424D-888A-0D63493F46B8}" destId="{097E8114-12F3-469E-A27B-D86B1C6D839A}" srcOrd="1" destOrd="0" presId="urn:microsoft.com/office/officeart/2005/8/layout/vList6"/>
    <dgm:cxn modelId="{ECAE0BB9-85C4-47EB-908B-9E9B22644695}" type="presParOf" srcId="{41B114B4-2075-481F-8666-65F14F2E771D}" destId="{4820B8F6-7CF0-40C3-8592-369BAB053290}" srcOrd="1" destOrd="0" presId="urn:microsoft.com/office/officeart/2005/8/layout/vList6"/>
    <dgm:cxn modelId="{44CBDAE2-EDB3-4D1A-B95A-B9FB0E227FE8}" type="presParOf" srcId="{41B114B4-2075-481F-8666-65F14F2E771D}" destId="{85A54C36-5914-417F-9884-C0442FF58314}" srcOrd="2" destOrd="0" presId="urn:microsoft.com/office/officeart/2005/8/layout/vList6"/>
    <dgm:cxn modelId="{1615978B-27F7-4887-AB8D-1FBD07A5FA0E}" type="presParOf" srcId="{85A54C36-5914-417F-9884-C0442FF58314}" destId="{77C55A6C-86CD-46F6-A7BC-CD989BF29AD3}" srcOrd="0" destOrd="0" presId="urn:microsoft.com/office/officeart/2005/8/layout/vList6"/>
    <dgm:cxn modelId="{34E3D3CE-AB30-47C1-A6C6-A85A3BE589A5}" type="presParOf" srcId="{85A54C36-5914-417F-9884-C0442FF58314}" destId="{DD3870A4-BF67-43F5-BD9C-EFCAFD36AF9C}" srcOrd="1" destOrd="0" presId="urn:microsoft.com/office/officeart/2005/8/layout/vList6"/>
    <dgm:cxn modelId="{D6A39605-26CB-4CFE-98E8-0E70781C3B69}" type="presParOf" srcId="{41B114B4-2075-481F-8666-65F14F2E771D}" destId="{049F547D-F5E4-4341-ABFB-A5326E94C2FD}" srcOrd="3" destOrd="0" presId="urn:microsoft.com/office/officeart/2005/8/layout/vList6"/>
    <dgm:cxn modelId="{0E30FEDA-CE76-4C96-9089-386EAF065C9F}" type="presParOf" srcId="{41B114B4-2075-481F-8666-65F14F2E771D}" destId="{8B18237F-CB70-41C0-806D-C2B1ABB4550F}" srcOrd="4" destOrd="0" presId="urn:microsoft.com/office/officeart/2005/8/layout/vList6"/>
    <dgm:cxn modelId="{6B8AFBC9-73CF-4790-9C20-2E03EF0A80C2}" type="presParOf" srcId="{8B18237F-CB70-41C0-806D-C2B1ABB4550F}" destId="{688B86EE-D10B-46C7-84F8-8C0C61F717C8}" srcOrd="0" destOrd="0" presId="urn:microsoft.com/office/officeart/2005/8/layout/vList6"/>
    <dgm:cxn modelId="{1C98C4F8-E46F-473D-BC65-CD40CD969BF5}" type="presParOf" srcId="{8B18237F-CB70-41C0-806D-C2B1ABB4550F}" destId="{1DC62910-F5B0-4E12-AD2C-26B51B70F214}" srcOrd="1" destOrd="0" presId="urn:microsoft.com/office/officeart/2005/8/layout/vList6"/>
    <dgm:cxn modelId="{08E8C029-BE00-4C32-8C20-74A5A018073D}" type="presParOf" srcId="{41B114B4-2075-481F-8666-65F14F2E771D}" destId="{6B8532DA-A002-4BDB-9063-DB94DCA0C567}" srcOrd="5" destOrd="0" presId="urn:microsoft.com/office/officeart/2005/8/layout/vList6"/>
    <dgm:cxn modelId="{F3C69591-406B-4C9A-ACED-0D3ED132185D}" type="presParOf" srcId="{41B114B4-2075-481F-8666-65F14F2E771D}" destId="{E5B2ED6C-AE68-44CD-8657-CA3977AF12CD}" srcOrd="6" destOrd="0" presId="urn:microsoft.com/office/officeart/2005/8/layout/vList6"/>
    <dgm:cxn modelId="{1B1D2DB8-F178-4834-A675-7B7CCFD97BD8}" type="presParOf" srcId="{E5B2ED6C-AE68-44CD-8657-CA3977AF12CD}" destId="{19D55732-39F8-4659-9F37-B937D64447A3}" srcOrd="0" destOrd="0" presId="urn:microsoft.com/office/officeart/2005/8/layout/vList6"/>
    <dgm:cxn modelId="{ED56B919-FBC5-4C76-B084-266F255586B2}" type="presParOf" srcId="{E5B2ED6C-AE68-44CD-8657-CA3977AF12CD}" destId="{B61DEA13-FD87-4FB8-AB97-821EA9B9B040}"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33FD921-6DE9-48F3-8999-C12958F5E883}"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A118B11D-B6BB-48DD-AD9C-C35C36378646}">
      <dgm:prSet/>
      <dgm:spPr/>
      <dgm:t>
        <a:bodyPr/>
        <a:lstStyle/>
        <a:p>
          <a:r>
            <a:rPr lang="en-US" baseline="0" dirty="0"/>
            <a:t>Execution count</a:t>
          </a:r>
          <a:endParaRPr lang="en-US" dirty="0"/>
        </a:p>
      </dgm:t>
    </dgm:pt>
    <dgm:pt modelId="{4ACE8C65-D436-4C19-8616-4704BF458D4F}" type="parTrans" cxnId="{96F1D2DE-0426-407E-B279-3CCBC784E5F0}">
      <dgm:prSet/>
      <dgm:spPr/>
      <dgm:t>
        <a:bodyPr/>
        <a:lstStyle/>
        <a:p>
          <a:endParaRPr lang="en-US"/>
        </a:p>
      </dgm:t>
    </dgm:pt>
    <dgm:pt modelId="{E51CE05F-E590-433D-BE7B-BCBFFCEE8D81}" type="sibTrans" cxnId="{96F1D2DE-0426-407E-B279-3CCBC784E5F0}">
      <dgm:prSet/>
      <dgm:spPr/>
      <dgm:t>
        <a:bodyPr/>
        <a:lstStyle/>
        <a:p>
          <a:endParaRPr lang="en-US"/>
        </a:p>
      </dgm:t>
    </dgm:pt>
    <dgm:pt modelId="{846D2057-5414-45C4-98B4-7CA0DD0D6675}">
      <dgm:prSet/>
      <dgm:spPr/>
      <dgm:t>
        <a:bodyPr/>
        <a:lstStyle/>
        <a:p>
          <a:r>
            <a:rPr lang="en-US" dirty="0"/>
            <a:t>Worker time</a:t>
          </a:r>
        </a:p>
      </dgm:t>
    </dgm:pt>
    <dgm:pt modelId="{940A18CD-47AA-4BCC-9340-A52AAC03ABA9}" type="parTrans" cxnId="{515E6093-0B85-4604-9AA7-81DC48D2F7E9}">
      <dgm:prSet/>
      <dgm:spPr/>
      <dgm:t>
        <a:bodyPr/>
        <a:lstStyle/>
        <a:p>
          <a:endParaRPr lang="en-US"/>
        </a:p>
      </dgm:t>
    </dgm:pt>
    <dgm:pt modelId="{751DD2C6-1089-4DA5-A1C7-160ACC842AFC}" type="sibTrans" cxnId="{515E6093-0B85-4604-9AA7-81DC48D2F7E9}">
      <dgm:prSet/>
      <dgm:spPr/>
      <dgm:t>
        <a:bodyPr/>
        <a:lstStyle/>
        <a:p>
          <a:endParaRPr lang="en-US"/>
        </a:p>
      </dgm:t>
    </dgm:pt>
    <dgm:pt modelId="{B3C92D0E-CBEB-408C-BBA8-012C9D0B8531}">
      <dgm:prSet/>
      <dgm:spPr/>
      <dgm:t>
        <a:bodyPr/>
        <a:lstStyle/>
        <a:p>
          <a:r>
            <a:rPr lang="en-US" baseline="0" dirty="0"/>
            <a:t>Physical read</a:t>
          </a:r>
          <a:endParaRPr lang="en-US" dirty="0"/>
        </a:p>
      </dgm:t>
    </dgm:pt>
    <dgm:pt modelId="{D3F2243A-A480-480B-AA32-B0E05342195F}" type="parTrans" cxnId="{5A52FFE9-5DDC-4AAD-8A36-5A9ED37B2D3C}">
      <dgm:prSet/>
      <dgm:spPr/>
      <dgm:t>
        <a:bodyPr/>
        <a:lstStyle/>
        <a:p>
          <a:endParaRPr lang="en-US"/>
        </a:p>
      </dgm:t>
    </dgm:pt>
    <dgm:pt modelId="{E602A4AF-1DC3-419D-AA49-C657FBEF3D27}" type="sibTrans" cxnId="{5A52FFE9-5DDC-4AAD-8A36-5A9ED37B2D3C}">
      <dgm:prSet/>
      <dgm:spPr/>
      <dgm:t>
        <a:bodyPr/>
        <a:lstStyle/>
        <a:p>
          <a:endParaRPr lang="en-US"/>
        </a:p>
      </dgm:t>
    </dgm:pt>
    <dgm:pt modelId="{4C805EDD-7620-421C-B822-7EF0DCB047BC}">
      <dgm:prSet/>
      <dgm:spPr/>
      <dgm:t>
        <a:bodyPr/>
        <a:lstStyle/>
        <a:p>
          <a:r>
            <a:rPr lang="en-US" baseline="0" dirty="0"/>
            <a:t>Logical reads</a:t>
          </a:r>
          <a:endParaRPr lang="en-US" dirty="0"/>
        </a:p>
      </dgm:t>
    </dgm:pt>
    <dgm:pt modelId="{6454531E-D3B5-4CCF-9D65-B9C25BF891D5}" type="parTrans" cxnId="{E260FB7D-E3D9-4FC6-B010-3697CDFA358D}">
      <dgm:prSet/>
      <dgm:spPr/>
      <dgm:t>
        <a:bodyPr/>
        <a:lstStyle/>
        <a:p>
          <a:endParaRPr lang="en-US"/>
        </a:p>
      </dgm:t>
    </dgm:pt>
    <dgm:pt modelId="{A43ECC7E-9E1B-44C3-954D-1E205CF7448E}" type="sibTrans" cxnId="{E260FB7D-E3D9-4FC6-B010-3697CDFA358D}">
      <dgm:prSet/>
      <dgm:spPr/>
      <dgm:t>
        <a:bodyPr/>
        <a:lstStyle/>
        <a:p>
          <a:endParaRPr lang="en-US"/>
        </a:p>
      </dgm:t>
    </dgm:pt>
    <dgm:pt modelId="{C0A4DDD8-8C1E-4B37-9E15-A80844D56A62}">
      <dgm:prSet/>
      <dgm:spPr/>
      <dgm:t>
        <a:bodyPr/>
        <a:lstStyle/>
        <a:p>
          <a:r>
            <a:rPr lang="en-US" baseline="0" dirty="0"/>
            <a:t>Memory consumption</a:t>
          </a:r>
          <a:endParaRPr lang="en-US" dirty="0"/>
        </a:p>
      </dgm:t>
    </dgm:pt>
    <dgm:pt modelId="{D0043AFD-56AA-4CC4-85C7-CE53084EECD0}" type="parTrans" cxnId="{11EA69D1-9935-45DB-BBFC-F089EAE66033}">
      <dgm:prSet/>
      <dgm:spPr/>
      <dgm:t>
        <a:bodyPr/>
        <a:lstStyle/>
        <a:p>
          <a:endParaRPr lang="en-US"/>
        </a:p>
      </dgm:t>
    </dgm:pt>
    <dgm:pt modelId="{B6AF65F0-FCC4-41CF-8DAA-812CD7ACDA6A}" type="sibTrans" cxnId="{11EA69D1-9935-45DB-BBFC-F089EAE66033}">
      <dgm:prSet/>
      <dgm:spPr/>
      <dgm:t>
        <a:bodyPr/>
        <a:lstStyle/>
        <a:p>
          <a:endParaRPr lang="en-US"/>
        </a:p>
      </dgm:t>
    </dgm:pt>
    <dgm:pt modelId="{2FA8E964-E5DA-46B4-939E-5CBDDC5CA756}">
      <dgm:prSet/>
      <dgm:spPr/>
      <dgm:t>
        <a:bodyPr/>
        <a:lstStyle/>
        <a:p>
          <a:r>
            <a:rPr lang="en-US" dirty="0"/>
            <a:t>Elapsed time</a:t>
          </a:r>
        </a:p>
      </dgm:t>
    </dgm:pt>
    <dgm:pt modelId="{5E2DC8D1-CA44-4E04-90F6-D84367A2775D}" type="parTrans" cxnId="{5973163C-46D6-48B6-AB22-BE2AFC244EDC}">
      <dgm:prSet/>
      <dgm:spPr/>
      <dgm:t>
        <a:bodyPr/>
        <a:lstStyle/>
        <a:p>
          <a:endParaRPr lang="en-US"/>
        </a:p>
      </dgm:t>
    </dgm:pt>
    <dgm:pt modelId="{BBE10C00-3D5C-47B0-8B10-D4B152FE5B8F}" type="sibTrans" cxnId="{5973163C-46D6-48B6-AB22-BE2AFC244EDC}">
      <dgm:prSet/>
      <dgm:spPr/>
      <dgm:t>
        <a:bodyPr/>
        <a:lstStyle/>
        <a:p>
          <a:endParaRPr lang="en-US"/>
        </a:p>
      </dgm:t>
    </dgm:pt>
    <dgm:pt modelId="{2F85516D-35C1-4A66-BA98-02006992FADF}">
      <dgm:prSet/>
      <dgm:spPr/>
      <dgm:t>
        <a:bodyPr/>
        <a:lstStyle/>
        <a:p>
          <a:r>
            <a:rPr lang="en-US" dirty="0"/>
            <a:t>Row count</a:t>
          </a:r>
        </a:p>
      </dgm:t>
    </dgm:pt>
    <dgm:pt modelId="{323F9B53-9E87-4D35-A6C4-83A6B12DF6D6}" type="parTrans" cxnId="{8CC3D771-816E-492F-97F3-3B8E13A4B55C}">
      <dgm:prSet/>
      <dgm:spPr/>
      <dgm:t>
        <a:bodyPr/>
        <a:lstStyle/>
        <a:p>
          <a:endParaRPr lang="en-US"/>
        </a:p>
      </dgm:t>
    </dgm:pt>
    <dgm:pt modelId="{399AF144-B35D-4264-95D6-2587445A3A30}" type="sibTrans" cxnId="{8CC3D771-816E-492F-97F3-3B8E13A4B55C}">
      <dgm:prSet/>
      <dgm:spPr/>
      <dgm:t>
        <a:bodyPr/>
        <a:lstStyle/>
        <a:p>
          <a:endParaRPr lang="en-US"/>
        </a:p>
      </dgm:t>
    </dgm:pt>
    <dgm:pt modelId="{4D3D9F9E-491F-48D4-8D24-983916AA90A4}">
      <dgm:prSet/>
      <dgm:spPr/>
      <dgm:t>
        <a:bodyPr/>
        <a:lstStyle/>
        <a:p>
          <a:r>
            <a:rPr lang="en-US" dirty="0"/>
            <a:t>Spills</a:t>
          </a:r>
        </a:p>
      </dgm:t>
    </dgm:pt>
    <dgm:pt modelId="{D37895DB-1D33-44E5-913C-21E1F3E16075}" type="parTrans" cxnId="{94DC4887-BA2D-4A42-B65E-6FCBF86853AB}">
      <dgm:prSet/>
      <dgm:spPr/>
      <dgm:t>
        <a:bodyPr/>
        <a:lstStyle/>
        <a:p>
          <a:endParaRPr lang="en-US"/>
        </a:p>
      </dgm:t>
    </dgm:pt>
    <dgm:pt modelId="{F522D55D-04C0-4281-B259-A7DF7DA04F20}" type="sibTrans" cxnId="{94DC4887-BA2D-4A42-B65E-6FCBF86853AB}">
      <dgm:prSet/>
      <dgm:spPr/>
      <dgm:t>
        <a:bodyPr/>
        <a:lstStyle/>
        <a:p>
          <a:endParaRPr lang="en-US"/>
        </a:p>
      </dgm:t>
    </dgm:pt>
    <dgm:pt modelId="{68AA262F-B128-4B52-B121-07D7DF2CA18F}">
      <dgm:prSet/>
      <dgm:spPr/>
      <dgm:t>
        <a:bodyPr/>
        <a:lstStyle/>
        <a:p>
          <a:r>
            <a:rPr lang="en-US" dirty="0"/>
            <a:t>…</a:t>
          </a:r>
        </a:p>
      </dgm:t>
    </dgm:pt>
    <dgm:pt modelId="{87B1C3F9-687F-45CB-B900-A25FF1BF86B9}" type="parTrans" cxnId="{1CE212F4-E8CE-407C-B9E6-B8BBDB8D5FC0}">
      <dgm:prSet/>
      <dgm:spPr/>
      <dgm:t>
        <a:bodyPr/>
        <a:lstStyle/>
        <a:p>
          <a:endParaRPr lang="en-US"/>
        </a:p>
      </dgm:t>
    </dgm:pt>
    <dgm:pt modelId="{A75FC07D-34AB-4BE2-B650-DFD4E930EBCC}" type="sibTrans" cxnId="{1CE212F4-E8CE-407C-B9E6-B8BBDB8D5FC0}">
      <dgm:prSet/>
      <dgm:spPr/>
      <dgm:t>
        <a:bodyPr/>
        <a:lstStyle/>
        <a:p>
          <a:endParaRPr lang="en-US"/>
        </a:p>
      </dgm:t>
    </dgm:pt>
    <dgm:pt modelId="{E72D0B29-E0E4-4566-B4DE-7050BC8D47A5}" type="pres">
      <dgm:prSet presAssocID="{C33FD921-6DE9-48F3-8999-C12958F5E883}" presName="linear" presStyleCnt="0">
        <dgm:presLayoutVars>
          <dgm:animLvl val="lvl"/>
          <dgm:resizeHandles val="exact"/>
        </dgm:presLayoutVars>
      </dgm:prSet>
      <dgm:spPr/>
    </dgm:pt>
    <dgm:pt modelId="{CA9FD43F-B116-44D8-A634-5BFAE6E1AA90}" type="pres">
      <dgm:prSet presAssocID="{A118B11D-B6BB-48DD-AD9C-C35C36378646}" presName="parentText" presStyleLbl="node1" presStyleIdx="0" presStyleCnt="9">
        <dgm:presLayoutVars>
          <dgm:chMax val="0"/>
          <dgm:bulletEnabled val="1"/>
        </dgm:presLayoutVars>
      </dgm:prSet>
      <dgm:spPr/>
    </dgm:pt>
    <dgm:pt modelId="{87A6E5F2-D623-4050-8F92-65FD2BC8C955}" type="pres">
      <dgm:prSet presAssocID="{E51CE05F-E590-433D-BE7B-BCBFFCEE8D81}" presName="spacer" presStyleCnt="0"/>
      <dgm:spPr/>
    </dgm:pt>
    <dgm:pt modelId="{2188DE46-950A-44E0-A8B0-CD8EFEA6C151}" type="pres">
      <dgm:prSet presAssocID="{846D2057-5414-45C4-98B4-7CA0DD0D6675}" presName="parentText" presStyleLbl="node1" presStyleIdx="1" presStyleCnt="9">
        <dgm:presLayoutVars>
          <dgm:chMax val="0"/>
          <dgm:bulletEnabled val="1"/>
        </dgm:presLayoutVars>
      </dgm:prSet>
      <dgm:spPr/>
    </dgm:pt>
    <dgm:pt modelId="{543061D1-B872-42C5-9EDD-1508DF1B7DC8}" type="pres">
      <dgm:prSet presAssocID="{751DD2C6-1089-4DA5-A1C7-160ACC842AFC}" presName="spacer" presStyleCnt="0"/>
      <dgm:spPr/>
    </dgm:pt>
    <dgm:pt modelId="{00AC3774-2F5B-41F4-9613-FD78AB0A3D33}" type="pres">
      <dgm:prSet presAssocID="{B3C92D0E-CBEB-408C-BBA8-012C9D0B8531}" presName="parentText" presStyleLbl="node1" presStyleIdx="2" presStyleCnt="9">
        <dgm:presLayoutVars>
          <dgm:chMax val="0"/>
          <dgm:bulletEnabled val="1"/>
        </dgm:presLayoutVars>
      </dgm:prSet>
      <dgm:spPr/>
    </dgm:pt>
    <dgm:pt modelId="{A52BD233-DFEF-47CE-BCA8-5A86CDA5F78A}" type="pres">
      <dgm:prSet presAssocID="{E602A4AF-1DC3-419D-AA49-C657FBEF3D27}" presName="spacer" presStyleCnt="0"/>
      <dgm:spPr/>
    </dgm:pt>
    <dgm:pt modelId="{ADB81461-1BAD-42E8-8951-7926DFB44DB9}" type="pres">
      <dgm:prSet presAssocID="{4C805EDD-7620-421C-B822-7EF0DCB047BC}" presName="parentText" presStyleLbl="node1" presStyleIdx="3" presStyleCnt="9">
        <dgm:presLayoutVars>
          <dgm:chMax val="0"/>
          <dgm:bulletEnabled val="1"/>
        </dgm:presLayoutVars>
      </dgm:prSet>
      <dgm:spPr/>
    </dgm:pt>
    <dgm:pt modelId="{D61EC79D-179B-4098-A26D-7DCAEC58638F}" type="pres">
      <dgm:prSet presAssocID="{A43ECC7E-9E1B-44C3-954D-1E205CF7448E}" presName="spacer" presStyleCnt="0"/>
      <dgm:spPr/>
    </dgm:pt>
    <dgm:pt modelId="{AC47D6B1-4844-4DF3-A3BB-850F4BBCC674}" type="pres">
      <dgm:prSet presAssocID="{2FA8E964-E5DA-46B4-939E-5CBDDC5CA756}" presName="parentText" presStyleLbl="node1" presStyleIdx="4" presStyleCnt="9">
        <dgm:presLayoutVars>
          <dgm:chMax val="0"/>
          <dgm:bulletEnabled val="1"/>
        </dgm:presLayoutVars>
      </dgm:prSet>
      <dgm:spPr/>
    </dgm:pt>
    <dgm:pt modelId="{846642A2-033F-4DA7-A40E-64414758E485}" type="pres">
      <dgm:prSet presAssocID="{BBE10C00-3D5C-47B0-8B10-D4B152FE5B8F}" presName="spacer" presStyleCnt="0"/>
      <dgm:spPr/>
    </dgm:pt>
    <dgm:pt modelId="{A4B8DADE-7CBD-4991-BE41-E0572C3734D1}" type="pres">
      <dgm:prSet presAssocID="{2F85516D-35C1-4A66-BA98-02006992FADF}" presName="parentText" presStyleLbl="node1" presStyleIdx="5" presStyleCnt="9">
        <dgm:presLayoutVars>
          <dgm:chMax val="0"/>
          <dgm:bulletEnabled val="1"/>
        </dgm:presLayoutVars>
      </dgm:prSet>
      <dgm:spPr/>
    </dgm:pt>
    <dgm:pt modelId="{921B7E6A-D53D-4AC2-B7FF-C130B61BCC8D}" type="pres">
      <dgm:prSet presAssocID="{399AF144-B35D-4264-95D6-2587445A3A30}" presName="spacer" presStyleCnt="0"/>
      <dgm:spPr/>
    </dgm:pt>
    <dgm:pt modelId="{18BBA3A3-5B22-4686-A138-349B603E9E3D}" type="pres">
      <dgm:prSet presAssocID="{C0A4DDD8-8C1E-4B37-9E15-A80844D56A62}" presName="parentText" presStyleLbl="node1" presStyleIdx="6" presStyleCnt="9">
        <dgm:presLayoutVars>
          <dgm:chMax val="0"/>
          <dgm:bulletEnabled val="1"/>
        </dgm:presLayoutVars>
      </dgm:prSet>
      <dgm:spPr/>
    </dgm:pt>
    <dgm:pt modelId="{5C8FC200-0550-4782-9759-2AB0AFF17B62}" type="pres">
      <dgm:prSet presAssocID="{B6AF65F0-FCC4-41CF-8DAA-812CD7ACDA6A}" presName="spacer" presStyleCnt="0"/>
      <dgm:spPr/>
    </dgm:pt>
    <dgm:pt modelId="{F2C617A2-4343-4A54-A451-84BA96676C27}" type="pres">
      <dgm:prSet presAssocID="{4D3D9F9E-491F-48D4-8D24-983916AA90A4}" presName="parentText" presStyleLbl="node1" presStyleIdx="7" presStyleCnt="9">
        <dgm:presLayoutVars>
          <dgm:chMax val="0"/>
          <dgm:bulletEnabled val="1"/>
        </dgm:presLayoutVars>
      </dgm:prSet>
      <dgm:spPr/>
    </dgm:pt>
    <dgm:pt modelId="{ADB936B2-3EE2-452D-AA50-BEF955ED3DAA}" type="pres">
      <dgm:prSet presAssocID="{F522D55D-04C0-4281-B259-A7DF7DA04F20}" presName="spacer" presStyleCnt="0"/>
      <dgm:spPr/>
    </dgm:pt>
    <dgm:pt modelId="{5D23F41D-DF0C-4EFA-AECE-5D315A3AA310}" type="pres">
      <dgm:prSet presAssocID="{68AA262F-B128-4B52-B121-07D7DF2CA18F}" presName="parentText" presStyleLbl="node1" presStyleIdx="8" presStyleCnt="9">
        <dgm:presLayoutVars>
          <dgm:chMax val="0"/>
          <dgm:bulletEnabled val="1"/>
        </dgm:presLayoutVars>
      </dgm:prSet>
      <dgm:spPr/>
    </dgm:pt>
  </dgm:ptLst>
  <dgm:cxnLst>
    <dgm:cxn modelId="{FCE82036-CEEC-4F86-81C1-5F126A0D3AE9}" type="presOf" srcId="{68AA262F-B128-4B52-B121-07D7DF2CA18F}" destId="{5D23F41D-DF0C-4EFA-AECE-5D315A3AA310}" srcOrd="0" destOrd="0" presId="urn:microsoft.com/office/officeart/2005/8/layout/vList2"/>
    <dgm:cxn modelId="{5973163C-46D6-48B6-AB22-BE2AFC244EDC}" srcId="{C33FD921-6DE9-48F3-8999-C12958F5E883}" destId="{2FA8E964-E5DA-46B4-939E-5CBDDC5CA756}" srcOrd="4" destOrd="0" parTransId="{5E2DC8D1-CA44-4E04-90F6-D84367A2775D}" sibTransId="{BBE10C00-3D5C-47B0-8B10-D4B152FE5B8F}"/>
    <dgm:cxn modelId="{8CC3D771-816E-492F-97F3-3B8E13A4B55C}" srcId="{C33FD921-6DE9-48F3-8999-C12958F5E883}" destId="{2F85516D-35C1-4A66-BA98-02006992FADF}" srcOrd="5" destOrd="0" parTransId="{323F9B53-9E87-4D35-A6C4-83A6B12DF6D6}" sibTransId="{399AF144-B35D-4264-95D6-2587445A3A30}"/>
    <dgm:cxn modelId="{E9CF7B59-9FDC-44D2-B532-DD86DE41B69F}" type="presOf" srcId="{4D3D9F9E-491F-48D4-8D24-983916AA90A4}" destId="{F2C617A2-4343-4A54-A451-84BA96676C27}" srcOrd="0" destOrd="0" presId="urn:microsoft.com/office/officeart/2005/8/layout/vList2"/>
    <dgm:cxn modelId="{E260FB7D-E3D9-4FC6-B010-3697CDFA358D}" srcId="{C33FD921-6DE9-48F3-8999-C12958F5E883}" destId="{4C805EDD-7620-421C-B822-7EF0DCB047BC}" srcOrd="3" destOrd="0" parTransId="{6454531E-D3B5-4CCF-9D65-B9C25BF891D5}" sibTransId="{A43ECC7E-9E1B-44C3-954D-1E205CF7448E}"/>
    <dgm:cxn modelId="{94DC4887-BA2D-4A42-B65E-6FCBF86853AB}" srcId="{C33FD921-6DE9-48F3-8999-C12958F5E883}" destId="{4D3D9F9E-491F-48D4-8D24-983916AA90A4}" srcOrd="7" destOrd="0" parTransId="{D37895DB-1D33-44E5-913C-21E1F3E16075}" sibTransId="{F522D55D-04C0-4281-B259-A7DF7DA04F20}"/>
    <dgm:cxn modelId="{4F12DC8B-7DC5-4FA8-AA25-86BE434A5119}" type="presOf" srcId="{4C805EDD-7620-421C-B822-7EF0DCB047BC}" destId="{ADB81461-1BAD-42E8-8951-7926DFB44DB9}" srcOrd="0" destOrd="0" presId="urn:microsoft.com/office/officeart/2005/8/layout/vList2"/>
    <dgm:cxn modelId="{F53D2590-D210-4AAC-BFEF-ABEBEF49C8F8}" type="presOf" srcId="{C0A4DDD8-8C1E-4B37-9E15-A80844D56A62}" destId="{18BBA3A3-5B22-4686-A138-349B603E9E3D}" srcOrd="0" destOrd="0" presId="urn:microsoft.com/office/officeart/2005/8/layout/vList2"/>
    <dgm:cxn modelId="{29E4A092-80E0-475B-A619-BBED6050BB66}" type="presOf" srcId="{2F85516D-35C1-4A66-BA98-02006992FADF}" destId="{A4B8DADE-7CBD-4991-BE41-E0572C3734D1}" srcOrd="0" destOrd="0" presId="urn:microsoft.com/office/officeart/2005/8/layout/vList2"/>
    <dgm:cxn modelId="{515E6093-0B85-4604-9AA7-81DC48D2F7E9}" srcId="{C33FD921-6DE9-48F3-8999-C12958F5E883}" destId="{846D2057-5414-45C4-98B4-7CA0DD0D6675}" srcOrd="1" destOrd="0" parTransId="{940A18CD-47AA-4BCC-9340-A52AAC03ABA9}" sibTransId="{751DD2C6-1089-4DA5-A1C7-160ACC842AFC}"/>
    <dgm:cxn modelId="{4AA5CBA5-3BC8-4ACD-A7E7-ED7B12E364AD}" type="presOf" srcId="{B3C92D0E-CBEB-408C-BBA8-012C9D0B8531}" destId="{00AC3774-2F5B-41F4-9613-FD78AB0A3D33}" srcOrd="0" destOrd="0" presId="urn:microsoft.com/office/officeart/2005/8/layout/vList2"/>
    <dgm:cxn modelId="{FC8254A8-D1C5-4487-B9FD-E87C284F1463}" type="presOf" srcId="{846D2057-5414-45C4-98B4-7CA0DD0D6675}" destId="{2188DE46-950A-44E0-A8B0-CD8EFEA6C151}" srcOrd="0" destOrd="0" presId="urn:microsoft.com/office/officeart/2005/8/layout/vList2"/>
    <dgm:cxn modelId="{C46FC2BE-B93D-47A9-AD24-B1A5D82EFE23}" type="presOf" srcId="{A118B11D-B6BB-48DD-AD9C-C35C36378646}" destId="{CA9FD43F-B116-44D8-A634-5BFAE6E1AA90}" srcOrd="0" destOrd="0" presId="urn:microsoft.com/office/officeart/2005/8/layout/vList2"/>
    <dgm:cxn modelId="{86A0AACF-7236-4B67-9452-7EDC8647D0B0}" type="presOf" srcId="{2FA8E964-E5DA-46B4-939E-5CBDDC5CA756}" destId="{AC47D6B1-4844-4DF3-A3BB-850F4BBCC674}" srcOrd="0" destOrd="0" presId="urn:microsoft.com/office/officeart/2005/8/layout/vList2"/>
    <dgm:cxn modelId="{11EA69D1-9935-45DB-BBFC-F089EAE66033}" srcId="{C33FD921-6DE9-48F3-8999-C12958F5E883}" destId="{C0A4DDD8-8C1E-4B37-9E15-A80844D56A62}" srcOrd="6" destOrd="0" parTransId="{D0043AFD-56AA-4CC4-85C7-CE53084EECD0}" sibTransId="{B6AF65F0-FCC4-41CF-8DAA-812CD7ACDA6A}"/>
    <dgm:cxn modelId="{96F1D2DE-0426-407E-B279-3CCBC784E5F0}" srcId="{C33FD921-6DE9-48F3-8999-C12958F5E883}" destId="{A118B11D-B6BB-48DD-AD9C-C35C36378646}" srcOrd="0" destOrd="0" parTransId="{4ACE8C65-D436-4C19-8616-4704BF458D4F}" sibTransId="{E51CE05F-E590-433D-BE7B-BCBFFCEE8D81}"/>
    <dgm:cxn modelId="{5A52FFE9-5DDC-4AAD-8A36-5A9ED37B2D3C}" srcId="{C33FD921-6DE9-48F3-8999-C12958F5E883}" destId="{B3C92D0E-CBEB-408C-BBA8-012C9D0B8531}" srcOrd="2" destOrd="0" parTransId="{D3F2243A-A480-480B-AA32-B0E05342195F}" sibTransId="{E602A4AF-1DC3-419D-AA49-C657FBEF3D27}"/>
    <dgm:cxn modelId="{55594DEF-7E12-49C0-A81A-441938EF4EC5}" type="presOf" srcId="{C33FD921-6DE9-48F3-8999-C12958F5E883}" destId="{E72D0B29-E0E4-4566-B4DE-7050BC8D47A5}" srcOrd="0" destOrd="0" presId="urn:microsoft.com/office/officeart/2005/8/layout/vList2"/>
    <dgm:cxn modelId="{1CE212F4-E8CE-407C-B9E6-B8BBDB8D5FC0}" srcId="{C33FD921-6DE9-48F3-8999-C12958F5E883}" destId="{68AA262F-B128-4B52-B121-07D7DF2CA18F}" srcOrd="8" destOrd="0" parTransId="{87B1C3F9-687F-45CB-B900-A25FF1BF86B9}" sibTransId="{A75FC07D-34AB-4BE2-B650-DFD4E930EBCC}"/>
    <dgm:cxn modelId="{07F8F5EA-5883-4CF0-943A-8A49E8C382EE}" type="presParOf" srcId="{E72D0B29-E0E4-4566-B4DE-7050BC8D47A5}" destId="{CA9FD43F-B116-44D8-A634-5BFAE6E1AA90}" srcOrd="0" destOrd="0" presId="urn:microsoft.com/office/officeart/2005/8/layout/vList2"/>
    <dgm:cxn modelId="{33EF6DED-3590-4CDD-B238-616B8BCFEEF1}" type="presParOf" srcId="{E72D0B29-E0E4-4566-B4DE-7050BC8D47A5}" destId="{87A6E5F2-D623-4050-8F92-65FD2BC8C955}" srcOrd="1" destOrd="0" presId="urn:microsoft.com/office/officeart/2005/8/layout/vList2"/>
    <dgm:cxn modelId="{DAFF6138-5DF2-445C-8995-C37DC7C76C5D}" type="presParOf" srcId="{E72D0B29-E0E4-4566-B4DE-7050BC8D47A5}" destId="{2188DE46-950A-44E0-A8B0-CD8EFEA6C151}" srcOrd="2" destOrd="0" presId="urn:microsoft.com/office/officeart/2005/8/layout/vList2"/>
    <dgm:cxn modelId="{EDCED811-4423-4C02-A6BC-DBB1BC9390EF}" type="presParOf" srcId="{E72D0B29-E0E4-4566-B4DE-7050BC8D47A5}" destId="{543061D1-B872-42C5-9EDD-1508DF1B7DC8}" srcOrd="3" destOrd="0" presId="urn:microsoft.com/office/officeart/2005/8/layout/vList2"/>
    <dgm:cxn modelId="{10C3BC17-AB49-47DA-B0FB-1A6782B6D9E5}" type="presParOf" srcId="{E72D0B29-E0E4-4566-B4DE-7050BC8D47A5}" destId="{00AC3774-2F5B-41F4-9613-FD78AB0A3D33}" srcOrd="4" destOrd="0" presId="urn:microsoft.com/office/officeart/2005/8/layout/vList2"/>
    <dgm:cxn modelId="{01766CB6-417A-4B46-9ED1-BCD9824F13EC}" type="presParOf" srcId="{E72D0B29-E0E4-4566-B4DE-7050BC8D47A5}" destId="{A52BD233-DFEF-47CE-BCA8-5A86CDA5F78A}" srcOrd="5" destOrd="0" presId="urn:microsoft.com/office/officeart/2005/8/layout/vList2"/>
    <dgm:cxn modelId="{851A38BA-FC85-414A-9EE9-01D3D119943C}" type="presParOf" srcId="{E72D0B29-E0E4-4566-B4DE-7050BC8D47A5}" destId="{ADB81461-1BAD-42E8-8951-7926DFB44DB9}" srcOrd="6" destOrd="0" presId="urn:microsoft.com/office/officeart/2005/8/layout/vList2"/>
    <dgm:cxn modelId="{60287A26-C524-4B24-88D7-F7F23F984C17}" type="presParOf" srcId="{E72D0B29-E0E4-4566-B4DE-7050BC8D47A5}" destId="{D61EC79D-179B-4098-A26D-7DCAEC58638F}" srcOrd="7" destOrd="0" presId="urn:microsoft.com/office/officeart/2005/8/layout/vList2"/>
    <dgm:cxn modelId="{EAB443AD-DAFC-4C7E-828A-66EA7AA12B32}" type="presParOf" srcId="{E72D0B29-E0E4-4566-B4DE-7050BC8D47A5}" destId="{AC47D6B1-4844-4DF3-A3BB-850F4BBCC674}" srcOrd="8" destOrd="0" presId="urn:microsoft.com/office/officeart/2005/8/layout/vList2"/>
    <dgm:cxn modelId="{8B887929-8B3F-4245-AF74-6EBFF8F4E0D5}" type="presParOf" srcId="{E72D0B29-E0E4-4566-B4DE-7050BC8D47A5}" destId="{846642A2-033F-4DA7-A40E-64414758E485}" srcOrd="9" destOrd="0" presId="urn:microsoft.com/office/officeart/2005/8/layout/vList2"/>
    <dgm:cxn modelId="{A9F5413E-4073-47F5-B488-54848ADD7DCF}" type="presParOf" srcId="{E72D0B29-E0E4-4566-B4DE-7050BC8D47A5}" destId="{A4B8DADE-7CBD-4991-BE41-E0572C3734D1}" srcOrd="10" destOrd="0" presId="urn:microsoft.com/office/officeart/2005/8/layout/vList2"/>
    <dgm:cxn modelId="{0C3DF8BC-95B9-4C1C-86BC-BB1054C37DAA}" type="presParOf" srcId="{E72D0B29-E0E4-4566-B4DE-7050BC8D47A5}" destId="{921B7E6A-D53D-4AC2-B7FF-C130B61BCC8D}" srcOrd="11" destOrd="0" presId="urn:microsoft.com/office/officeart/2005/8/layout/vList2"/>
    <dgm:cxn modelId="{2907E753-7931-414C-B388-6E9ED957BD48}" type="presParOf" srcId="{E72D0B29-E0E4-4566-B4DE-7050BC8D47A5}" destId="{18BBA3A3-5B22-4686-A138-349B603E9E3D}" srcOrd="12" destOrd="0" presId="urn:microsoft.com/office/officeart/2005/8/layout/vList2"/>
    <dgm:cxn modelId="{3915EFF6-4EBF-49AF-8B3A-82D1073D8FAC}" type="presParOf" srcId="{E72D0B29-E0E4-4566-B4DE-7050BC8D47A5}" destId="{5C8FC200-0550-4782-9759-2AB0AFF17B62}" srcOrd="13" destOrd="0" presId="urn:microsoft.com/office/officeart/2005/8/layout/vList2"/>
    <dgm:cxn modelId="{76780184-A8B7-4D65-A2AE-A8580E3F1A52}" type="presParOf" srcId="{E72D0B29-E0E4-4566-B4DE-7050BC8D47A5}" destId="{F2C617A2-4343-4A54-A451-84BA96676C27}" srcOrd="14" destOrd="0" presId="urn:microsoft.com/office/officeart/2005/8/layout/vList2"/>
    <dgm:cxn modelId="{4B765870-3252-4856-BFBE-1352DD58CD14}" type="presParOf" srcId="{E72D0B29-E0E4-4566-B4DE-7050BC8D47A5}" destId="{ADB936B2-3EE2-452D-AA50-BEF955ED3DAA}" srcOrd="15" destOrd="0" presId="urn:microsoft.com/office/officeart/2005/8/layout/vList2"/>
    <dgm:cxn modelId="{31B3A32E-50F9-4FBF-B572-E1D78FDD53AE}" type="presParOf" srcId="{E72D0B29-E0E4-4566-B4DE-7050BC8D47A5}" destId="{5D23F41D-DF0C-4EFA-AECE-5D315A3AA310}" srcOrd="1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400" baseline="0" dirty="0"/>
            <a:t>Total</a:t>
          </a:r>
          <a:endParaRPr lang="en-US" sz="24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400" baseline="0" dirty="0"/>
            <a:t>Last</a:t>
          </a:r>
          <a:endParaRPr lang="en-US" sz="24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400" baseline="0" dirty="0"/>
            <a:t>Max</a:t>
          </a:r>
          <a:endParaRPr lang="en-US" sz="24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537084F6-BBA0-4C15-8D50-9DD4CCB58849}">
      <dgm:prSet custT="1"/>
      <dgm:spPr/>
      <dgm:t>
        <a:bodyPr/>
        <a:lstStyle/>
        <a:p>
          <a:r>
            <a:rPr lang="en-US" sz="2400" baseline="0" dirty="0"/>
            <a:t>Min</a:t>
          </a:r>
          <a:endParaRPr lang="en-US" sz="2400" dirty="0"/>
        </a:p>
      </dgm:t>
    </dgm:pt>
    <dgm:pt modelId="{7F28854B-F647-4DA3-9091-1D4C748318FF}" type="parTrans" cxnId="{AE35DE90-A37F-4874-B342-3B559B6D1B02}">
      <dgm:prSet/>
      <dgm:spPr/>
      <dgm:t>
        <a:bodyPr/>
        <a:lstStyle/>
        <a:p>
          <a:endParaRPr lang="en-US"/>
        </a:p>
      </dgm:t>
    </dgm:pt>
    <dgm:pt modelId="{D4318215-1C82-46AB-A029-A5F6ED26B794}" type="sibTrans" cxnId="{AE35DE90-A37F-4874-B342-3B559B6D1B02}">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72D73D71-AC6D-4DAE-B7FF-0B6FD23E36C0}" srcId="{DCD1F75D-2D97-44B6-A92E-EC894FC36B47}" destId="{EDC66B11-7884-435C-9BCD-F71825B3BFB3}" srcOrd="3"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AE35DE90-A37F-4874-B342-3B559B6D1B02}" srcId="{DCD1F75D-2D97-44B6-A92E-EC894FC36B47}" destId="{537084F6-BBA0-4C15-8D50-9DD4CCB58849}" srcOrd="2" destOrd="0" parTransId="{7F28854B-F647-4DA3-9091-1D4C748318FF}" sibTransId="{D4318215-1C82-46AB-A029-A5F6ED26B794}"/>
    <dgm:cxn modelId="{5109A4C7-CA9D-43D4-9EB8-5B1C65798514}" type="presOf" srcId="{537084F6-BBA0-4C15-8D50-9DD4CCB58849}" destId="{88358F0B-3705-4BDE-875B-8462A329C789}" srcOrd="0" destOrd="2" presId="urn:microsoft.com/office/officeart/2005/8/layout/vList5"/>
    <dgm:cxn modelId="{412401D1-3D3D-45DA-8C48-C25322DBC6D5}" type="presOf" srcId="{EDC66B11-7884-435C-9BCD-F71825B3BFB3}" destId="{88358F0B-3705-4BDE-875B-8462A329C789}" srcOrd="0" destOrd="3" presId="urn:microsoft.com/office/officeart/2005/8/layout/vList5"/>
    <dgm:cxn modelId="{47870AD6-2B37-4301-9A8A-03B62BEF4C7E}" type="presOf" srcId="{72AB5958-98AE-40E1-A2BC-F86615DC227C}" destId="{0AB4B53A-5223-4FFC-82C3-2EACFB83BDEF}" srcOrd="0" destOrd="0"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7FF96150-C5E8-449B-87BB-273201584C4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53FF87D-4B28-4961-95AB-E35B9D6448F6}">
      <dgm:prSet custT="1"/>
      <dgm:spPr/>
      <dgm:t>
        <a:bodyPr/>
        <a:lstStyle/>
        <a:p>
          <a:r>
            <a:rPr lang="en-US" sz="2400" baseline="0" dirty="0"/>
            <a:t>Heavy </a:t>
          </a:r>
          <a:r>
            <a:rPr lang="en-US" sz="2400" i="1" baseline="0" dirty="0"/>
            <a:t>ad hoc </a:t>
          </a:r>
          <a:r>
            <a:rPr lang="en-US" sz="2400" baseline="0" dirty="0"/>
            <a:t>workloads can bloat the plan cache</a:t>
          </a:r>
          <a:endParaRPr lang="en-US" sz="2400" dirty="0"/>
        </a:p>
      </dgm:t>
    </dgm:pt>
    <dgm:pt modelId="{8E0586E1-7A55-4B6C-9A06-4B8EC3032CEF}" type="parTrans" cxnId="{4E695FD1-FED4-447D-AE3D-6E8259960A21}">
      <dgm:prSet/>
      <dgm:spPr/>
      <dgm:t>
        <a:bodyPr/>
        <a:lstStyle/>
        <a:p>
          <a:endParaRPr lang="en-US"/>
        </a:p>
      </dgm:t>
    </dgm:pt>
    <dgm:pt modelId="{D292DD20-D544-467E-AD79-C7DC7C3B9A0A}" type="sibTrans" cxnId="{4E695FD1-FED4-447D-AE3D-6E8259960A21}">
      <dgm:prSet/>
      <dgm:spPr/>
      <dgm:t>
        <a:bodyPr/>
        <a:lstStyle/>
        <a:p>
          <a:endParaRPr lang="en-US"/>
        </a:p>
      </dgm:t>
    </dgm:pt>
    <dgm:pt modelId="{A539C337-15A1-4340-83D8-8E61ADBA7528}">
      <dgm:prSet custT="1"/>
      <dgm:spPr/>
      <dgm:t>
        <a:bodyPr/>
        <a:lstStyle/>
        <a:p>
          <a:r>
            <a:rPr lang="en-US" sz="2400" baseline="0" dirty="0"/>
            <a:t>Enable “optimize for ad hoc workload” to keep single-use plans out of the cache</a:t>
          </a:r>
          <a:endParaRPr lang="en-US" sz="2400" dirty="0"/>
        </a:p>
      </dgm:t>
    </dgm:pt>
    <dgm:pt modelId="{BC0BCFD4-538C-4B94-8F06-0485DDCC46E0}" type="parTrans" cxnId="{33E4BE41-5CA7-4B7D-9FBF-63B0D4C25CE6}">
      <dgm:prSet/>
      <dgm:spPr/>
      <dgm:t>
        <a:bodyPr/>
        <a:lstStyle/>
        <a:p>
          <a:endParaRPr lang="en-US"/>
        </a:p>
      </dgm:t>
    </dgm:pt>
    <dgm:pt modelId="{95179D76-120E-4272-9206-772EE5F6E749}" type="sibTrans" cxnId="{33E4BE41-5CA7-4B7D-9FBF-63B0D4C25CE6}">
      <dgm:prSet/>
      <dgm:spPr/>
      <dgm:t>
        <a:bodyPr/>
        <a:lstStyle/>
        <a:p>
          <a:endParaRPr lang="en-US"/>
        </a:p>
      </dgm:t>
    </dgm:pt>
    <dgm:pt modelId="{348BA692-EDCF-43EC-96A1-1836852B0C68}">
      <dgm:prSet custT="1"/>
      <dgm:spPr/>
      <dgm:t>
        <a:bodyPr/>
        <a:lstStyle/>
        <a:p>
          <a:r>
            <a:rPr lang="en-US" sz="2400" baseline="0" dirty="0"/>
            <a:t>No benefit to caching single-use, ad hoc plans</a:t>
          </a:r>
          <a:endParaRPr lang="en-US" sz="2400" dirty="0"/>
        </a:p>
      </dgm:t>
    </dgm:pt>
    <dgm:pt modelId="{FBA53D4C-2DE7-414E-8E66-DCC54D9384B7}" type="parTrans" cxnId="{332E90F8-C638-420A-8C23-7DCA15EF0DE1}">
      <dgm:prSet/>
      <dgm:spPr/>
      <dgm:t>
        <a:bodyPr/>
        <a:lstStyle/>
        <a:p>
          <a:endParaRPr lang="en-US"/>
        </a:p>
      </dgm:t>
    </dgm:pt>
    <dgm:pt modelId="{EA16906E-33DF-4CFB-BF6A-4F3D7D8E64B0}" type="sibTrans" cxnId="{332E90F8-C638-420A-8C23-7DCA15EF0DE1}">
      <dgm:prSet/>
      <dgm:spPr/>
      <dgm:t>
        <a:bodyPr/>
        <a:lstStyle/>
        <a:p>
          <a:endParaRPr lang="en-US"/>
        </a:p>
      </dgm:t>
    </dgm:pt>
    <dgm:pt modelId="{87FC66B4-C95D-414F-8447-8FC5D40294BB}" type="pres">
      <dgm:prSet presAssocID="{7FF96150-C5E8-449B-87BB-273201584C47}" presName="diagram" presStyleCnt="0">
        <dgm:presLayoutVars>
          <dgm:dir/>
          <dgm:resizeHandles val="exact"/>
        </dgm:presLayoutVars>
      </dgm:prSet>
      <dgm:spPr/>
    </dgm:pt>
    <dgm:pt modelId="{442B8F45-C21C-453B-84D9-C5CD6AD7B4FC}" type="pres">
      <dgm:prSet presAssocID="{353FF87D-4B28-4961-95AB-E35B9D6448F6}" presName="node" presStyleLbl="node1" presStyleIdx="0" presStyleCnt="3">
        <dgm:presLayoutVars>
          <dgm:bulletEnabled val="1"/>
        </dgm:presLayoutVars>
      </dgm:prSet>
      <dgm:spPr/>
    </dgm:pt>
    <dgm:pt modelId="{E255B85D-85C2-45D6-A1E8-CBBECB875897}" type="pres">
      <dgm:prSet presAssocID="{D292DD20-D544-467E-AD79-C7DC7C3B9A0A}" presName="sibTrans" presStyleCnt="0"/>
      <dgm:spPr/>
    </dgm:pt>
    <dgm:pt modelId="{7A872729-72F1-46CB-B009-3FB6861B61FC}" type="pres">
      <dgm:prSet presAssocID="{348BA692-EDCF-43EC-96A1-1836852B0C68}" presName="node" presStyleLbl="node1" presStyleIdx="1" presStyleCnt="3">
        <dgm:presLayoutVars>
          <dgm:bulletEnabled val="1"/>
        </dgm:presLayoutVars>
      </dgm:prSet>
      <dgm:spPr/>
    </dgm:pt>
    <dgm:pt modelId="{4722F49A-1221-4399-9B00-A1D59AA5DFFF}" type="pres">
      <dgm:prSet presAssocID="{EA16906E-33DF-4CFB-BF6A-4F3D7D8E64B0}" presName="sibTrans" presStyleCnt="0"/>
      <dgm:spPr/>
    </dgm:pt>
    <dgm:pt modelId="{41967A24-5AD9-4D95-94BC-C765092BFE0F}" type="pres">
      <dgm:prSet presAssocID="{A539C337-15A1-4340-83D8-8E61ADBA7528}" presName="node" presStyleLbl="node1" presStyleIdx="2" presStyleCnt="3">
        <dgm:presLayoutVars>
          <dgm:bulletEnabled val="1"/>
        </dgm:presLayoutVars>
      </dgm:prSet>
      <dgm:spPr/>
    </dgm:pt>
  </dgm:ptLst>
  <dgm:cxnLst>
    <dgm:cxn modelId="{33E4BE41-5CA7-4B7D-9FBF-63B0D4C25CE6}" srcId="{7FF96150-C5E8-449B-87BB-273201584C47}" destId="{A539C337-15A1-4340-83D8-8E61ADBA7528}" srcOrd="2" destOrd="0" parTransId="{BC0BCFD4-538C-4B94-8F06-0485DDCC46E0}" sibTransId="{95179D76-120E-4272-9206-772EE5F6E749}"/>
    <dgm:cxn modelId="{B864CF4A-EC56-4CDD-953A-2A4C2B51CDEA}" type="presOf" srcId="{7FF96150-C5E8-449B-87BB-273201584C47}" destId="{87FC66B4-C95D-414F-8447-8FC5D40294BB}" srcOrd="0" destOrd="0" presId="urn:microsoft.com/office/officeart/2005/8/layout/default"/>
    <dgm:cxn modelId="{194CBBB1-2373-4724-A038-852D9723F107}" type="presOf" srcId="{A539C337-15A1-4340-83D8-8E61ADBA7528}" destId="{41967A24-5AD9-4D95-94BC-C765092BFE0F}" srcOrd="0" destOrd="0" presId="urn:microsoft.com/office/officeart/2005/8/layout/default"/>
    <dgm:cxn modelId="{97043DB8-D48C-4FA1-9B2A-9E75486AE382}" type="presOf" srcId="{353FF87D-4B28-4961-95AB-E35B9D6448F6}" destId="{442B8F45-C21C-453B-84D9-C5CD6AD7B4FC}" srcOrd="0" destOrd="0" presId="urn:microsoft.com/office/officeart/2005/8/layout/default"/>
    <dgm:cxn modelId="{F8A259BE-6715-46EC-AF78-298C5879B1E5}" type="presOf" srcId="{348BA692-EDCF-43EC-96A1-1836852B0C68}" destId="{7A872729-72F1-46CB-B009-3FB6861B61FC}" srcOrd="0" destOrd="0" presId="urn:microsoft.com/office/officeart/2005/8/layout/default"/>
    <dgm:cxn modelId="{4E695FD1-FED4-447D-AE3D-6E8259960A21}" srcId="{7FF96150-C5E8-449B-87BB-273201584C47}" destId="{353FF87D-4B28-4961-95AB-E35B9D6448F6}" srcOrd="0" destOrd="0" parTransId="{8E0586E1-7A55-4B6C-9A06-4B8EC3032CEF}" sibTransId="{D292DD20-D544-467E-AD79-C7DC7C3B9A0A}"/>
    <dgm:cxn modelId="{332E90F8-C638-420A-8C23-7DCA15EF0DE1}" srcId="{7FF96150-C5E8-449B-87BB-273201584C47}" destId="{348BA692-EDCF-43EC-96A1-1836852B0C68}" srcOrd="1" destOrd="0" parTransId="{FBA53D4C-2DE7-414E-8E66-DCC54D9384B7}" sibTransId="{EA16906E-33DF-4CFB-BF6A-4F3D7D8E64B0}"/>
    <dgm:cxn modelId="{DDA3FFF9-59BC-4706-AD7D-6AF912DBE426}" type="presParOf" srcId="{87FC66B4-C95D-414F-8447-8FC5D40294BB}" destId="{442B8F45-C21C-453B-84D9-C5CD6AD7B4FC}" srcOrd="0" destOrd="0" presId="urn:microsoft.com/office/officeart/2005/8/layout/default"/>
    <dgm:cxn modelId="{5D5518DB-C77F-437E-B786-18EF5FFAF484}" type="presParOf" srcId="{87FC66B4-C95D-414F-8447-8FC5D40294BB}" destId="{E255B85D-85C2-45D6-A1E8-CBBECB875897}" srcOrd="1" destOrd="0" presId="urn:microsoft.com/office/officeart/2005/8/layout/default"/>
    <dgm:cxn modelId="{893E7894-99D9-4FD6-9B89-C1759E490668}" type="presParOf" srcId="{87FC66B4-C95D-414F-8447-8FC5D40294BB}" destId="{7A872729-72F1-46CB-B009-3FB6861B61FC}" srcOrd="2" destOrd="0" presId="urn:microsoft.com/office/officeart/2005/8/layout/default"/>
    <dgm:cxn modelId="{89D359E4-CCA2-48CA-A0F0-53B9397E8BC4}" type="presParOf" srcId="{87FC66B4-C95D-414F-8447-8FC5D40294BB}" destId="{4722F49A-1221-4399-9B00-A1D59AA5DFFF}" srcOrd="3" destOrd="0" presId="urn:microsoft.com/office/officeart/2005/8/layout/default"/>
    <dgm:cxn modelId="{93602D75-AC2D-4A3D-B862-E8A55A33F057}" type="presParOf" srcId="{87FC66B4-C95D-414F-8447-8FC5D40294BB}" destId="{41967A24-5AD9-4D95-94BC-C765092BFE0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966D9200-13DA-4E05-B9EF-C82788702EFF}">
      <dgm:prSet custT="1"/>
      <dgm:spPr/>
      <dgm:t>
        <a:bodyPr/>
        <a:lstStyle/>
        <a:p>
          <a:r>
            <a:rPr lang="en-US" sz="2400" baseline="0" dirty="0"/>
            <a:t>The entire plan cache – all databases</a:t>
          </a:r>
          <a:endParaRPr lang="en-US" sz="2400"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t>DBCC FREEPROC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custT="1"/>
      <dgm:spPr/>
      <dgm:t>
        <a:bodyPr/>
        <a:lstStyle/>
        <a:p>
          <a:r>
            <a:rPr lang="en-US" sz="2400" baseline="0" dirty="0"/>
            <a:t>All plans of a specific type</a:t>
          </a:r>
          <a:endParaRPr lang="en-US" sz="2400"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custT="1"/>
      <dgm:spPr/>
      <dgm:t>
        <a:bodyPr/>
        <a:lstStyle/>
        <a:p>
          <a:r>
            <a:rPr lang="en-US" sz="2400" baseline="0" dirty="0"/>
            <a:t>All plans for a single database</a:t>
          </a:r>
          <a:endParaRPr lang="en-US" sz="2400"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t>ALTER DATABASE SCOPED CONFIGURATION CLEAR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custT="1"/>
      <dgm:spPr/>
      <dgm:t>
        <a:bodyPr/>
        <a:lstStyle/>
        <a:p>
          <a:r>
            <a:rPr lang="en-US" sz="2400" baseline="0" dirty="0"/>
            <a:t>A specific plan</a:t>
          </a:r>
          <a:endParaRPr lang="en-US" sz="2400"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t>ALTER DATABASE SCOPED CONFIGURATION CLEAR PROCEDURE_CACHE(&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custLinFactNeighborY="0">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966D9200-13DA-4E05-B9EF-C82788702EFF}">
      <dgm:prSet/>
      <dgm:spPr/>
      <dgm:t>
        <a:bodyPr/>
        <a:lstStyle/>
        <a:p>
          <a:r>
            <a:rPr lang="en-US" baseline="0" dirty="0"/>
            <a:t>The entire plan cache – all databases</a:t>
          </a:r>
          <a:endParaRPr lang="en-US"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solidFill>
                <a:srgbClr val="0078D4"/>
              </a:solidFill>
            </a:rPr>
            <a:t>ALTER DATABASE </a:t>
          </a:r>
          <a:r>
            <a:rPr lang="en-US" baseline="0" dirty="0"/>
            <a:t>SCOPED CONFIGURATION </a:t>
          </a:r>
          <a:r>
            <a:rPr lang="en-US" baseline="0" dirty="0">
              <a:solidFill>
                <a:srgbClr val="0078D4"/>
              </a:solidFill>
            </a:rPr>
            <a:t>CLEAR</a:t>
          </a:r>
          <a:r>
            <a:rPr lang="en-US" baseline="0" dirty="0"/>
            <a:t> PROCEDURE_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dgm:spPr/>
      <dgm:t>
        <a:bodyPr/>
        <a:lstStyle/>
        <a:p>
          <a:r>
            <a:rPr lang="en-US" baseline="0" dirty="0"/>
            <a:t>All plans of a specific type</a:t>
          </a:r>
          <a:endParaRPr lang="en-US"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dgm:spPr/>
      <dgm:t>
        <a:bodyPr/>
        <a:lstStyle/>
        <a:p>
          <a:r>
            <a:rPr lang="en-US" baseline="0" dirty="0"/>
            <a:t>All plans for a single database</a:t>
          </a:r>
          <a:endParaRPr lang="en-US"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dgm:spPr/>
      <dgm:t>
        <a:bodyPr/>
        <a:lstStyle/>
        <a:p>
          <a:r>
            <a:rPr lang="en-US" baseline="0" dirty="0"/>
            <a:t>A specific plan</a:t>
          </a:r>
          <a:endParaRPr lang="en-US"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 &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BCD35BF-F9D8-4E98-A0BD-61458FBC85B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E464D81B-C285-4CD3-BD40-18600D601C23}">
      <dgm:prSet/>
      <dgm:spPr/>
      <dgm:t>
        <a:bodyPr/>
        <a:lstStyle/>
        <a:p>
          <a:pPr algn="ctr"/>
          <a:r>
            <a:rPr lang="en-US" baseline="0" dirty="0"/>
            <a:t>Requires that SQL statements match exactly</a:t>
          </a:r>
          <a:endParaRPr lang="en-US" dirty="0"/>
        </a:p>
      </dgm:t>
    </dgm:pt>
    <dgm:pt modelId="{9D70155A-7735-41CD-8BF8-AE57B6884612}" type="parTrans" cxnId="{75286957-D1E4-4FB9-BDE6-E1E97D08D5B3}">
      <dgm:prSet/>
      <dgm:spPr/>
      <dgm:t>
        <a:bodyPr/>
        <a:lstStyle/>
        <a:p>
          <a:endParaRPr lang="en-US"/>
        </a:p>
      </dgm:t>
    </dgm:pt>
    <dgm:pt modelId="{5CB6AD22-2F50-4011-8DE6-CAB139911129}" type="sibTrans" cxnId="{75286957-D1E4-4FB9-BDE6-E1E97D08D5B3}">
      <dgm:prSet/>
      <dgm:spPr/>
      <dgm:t>
        <a:bodyPr/>
        <a:lstStyle/>
        <a:p>
          <a:endParaRPr lang="en-US"/>
        </a:p>
      </dgm:t>
    </dgm:pt>
    <dgm:pt modelId="{74D5A0B7-91FD-43FF-BD1D-98BF2B5EA408}">
      <dgm:prSet/>
      <dgm:spPr/>
      <dgm:t>
        <a:bodyPr/>
        <a:lstStyle/>
        <a:p>
          <a:r>
            <a:rPr lang="en-US" u="sng" baseline="0" dirty="0"/>
            <a:t>Any</a:t>
          </a:r>
          <a:r>
            <a:rPr lang="en-US" baseline="0" dirty="0"/>
            <a:t> difference in casing, white space or literal values will affect a hashed value</a:t>
          </a:r>
          <a:endParaRPr lang="en-US" dirty="0"/>
        </a:p>
      </dgm:t>
    </dgm:pt>
    <dgm:pt modelId="{0A934204-652D-4555-97BA-7407613F4D2E}" type="parTrans" cxnId="{DB2C2E84-A62F-4479-9DA9-ED235A39E5C3}">
      <dgm:prSet/>
      <dgm:spPr/>
      <dgm:t>
        <a:bodyPr/>
        <a:lstStyle/>
        <a:p>
          <a:endParaRPr lang="en-US"/>
        </a:p>
      </dgm:t>
    </dgm:pt>
    <dgm:pt modelId="{711141CB-3BAD-470D-8330-801EEE241662}" type="sibTrans" cxnId="{DB2C2E84-A62F-4479-9DA9-ED235A39E5C3}">
      <dgm:prSet/>
      <dgm:spPr/>
      <dgm:t>
        <a:bodyPr/>
        <a:lstStyle/>
        <a:p>
          <a:endParaRPr lang="en-US"/>
        </a:p>
      </dgm:t>
    </dgm:pt>
    <dgm:pt modelId="{2CCBD4EB-E76D-4F4F-ABBB-E4489EDEF2BE}">
      <dgm:prSet/>
      <dgm:spPr/>
      <dgm:t>
        <a:bodyPr/>
        <a:lstStyle/>
        <a:p>
          <a:r>
            <a:rPr lang="en-US" baseline="0" dirty="0"/>
            <a:t>Less likely for </a:t>
          </a:r>
          <a:r>
            <a:rPr lang="en-US" i="1" baseline="0" dirty="0"/>
            <a:t>ad hoc </a:t>
          </a:r>
          <a:r>
            <a:rPr lang="en-US" baseline="0" dirty="0"/>
            <a:t>SQL statements</a:t>
          </a:r>
          <a:endParaRPr lang="en-US" dirty="0"/>
        </a:p>
      </dgm:t>
    </dgm:pt>
    <dgm:pt modelId="{B27A3923-093A-43F1-8911-00F4375B814E}" type="parTrans" cxnId="{5074666C-2790-4BEB-97B8-BBF05C393296}">
      <dgm:prSet/>
      <dgm:spPr/>
      <dgm:t>
        <a:bodyPr/>
        <a:lstStyle/>
        <a:p>
          <a:endParaRPr lang="en-US"/>
        </a:p>
      </dgm:t>
    </dgm:pt>
    <dgm:pt modelId="{03230513-2199-46BE-ABEB-26CD814EFA1B}" type="sibTrans" cxnId="{5074666C-2790-4BEB-97B8-BBF05C393296}">
      <dgm:prSet/>
      <dgm:spPr/>
      <dgm:t>
        <a:bodyPr/>
        <a:lstStyle/>
        <a:p>
          <a:endParaRPr lang="en-US"/>
        </a:p>
      </dgm:t>
    </dgm:pt>
    <dgm:pt modelId="{219AE4C6-5776-496C-B804-F1CCAC76320A}">
      <dgm:prSet/>
      <dgm:spPr/>
      <dgm:t>
        <a:bodyPr/>
        <a:lstStyle/>
        <a:p>
          <a:r>
            <a:rPr lang="en-US" baseline="0" dirty="0"/>
            <a:t>Simple (on by default) or Forced Parameterization can improve reuse</a:t>
          </a:r>
          <a:endParaRPr lang="en-US" dirty="0"/>
        </a:p>
      </dgm:t>
    </dgm:pt>
    <dgm:pt modelId="{D2171FFD-BF55-4538-A269-4874418890AF}" type="parTrans" cxnId="{94F8171F-DA48-4F73-9E64-693ECE06E8EF}">
      <dgm:prSet/>
      <dgm:spPr/>
      <dgm:t>
        <a:bodyPr/>
        <a:lstStyle/>
        <a:p>
          <a:endParaRPr lang="en-US"/>
        </a:p>
      </dgm:t>
    </dgm:pt>
    <dgm:pt modelId="{39E8E2C7-0876-401C-9242-993ED9AE26C7}" type="sibTrans" cxnId="{94F8171F-DA48-4F73-9E64-693ECE06E8EF}">
      <dgm:prSet/>
      <dgm:spPr/>
      <dgm:t>
        <a:bodyPr/>
        <a:lstStyle/>
        <a:p>
          <a:endParaRPr lang="en-US"/>
        </a:p>
      </dgm:t>
    </dgm:pt>
    <dgm:pt modelId="{F4AA763C-68F1-4722-BA14-36BD3F446C4B}">
      <dgm:prSet/>
      <dgm:spPr/>
      <dgm:t>
        <a:bodyPr/>
        <a:lstStyle/>
        <a:p>
          <a:r>
            <a:rPr lang="en-US" baseline="0" dirty="0"/>
            <a:t>Most easily achieved using:</a:t>
          </a:r>
          <a:endParaRPr lang="en-US" dirty="0"/>
        </a:p>
      </dgm:t>
    </dgm:pt>
    <dgm:pt modelId="{7B65FF97-5662-48F3-8493-FFC496799833}" type="parTrans" cxnId="{94438674-1B33-4BB3-85F9-9B3BCF231050}">
      <dgm:prSet/>
      <dgm:spPr/>
      <dgm:t>
        <a:bodyPr/>
        <a:lstStyle/>
        <a:p>
          <a:endParaRPr lang="en-US"/>
        </a:p>
      </dgm:t>
    </dgm:pt>
    <dgm:pt modelId="{47798103-3269-47CD-BE12-9C12CCD463D5}" type="sibTrans" cxnId="{94438674-1B33-4BB3-85F9-9B3BCF231050}">
      <dgm:prSet/>
      <dgm:spPr/>
      <dgm:t>
        <a:bodyPr/>
        <a:lstStyle/>
        <a:p>
          <a:endParaRPr lang="en-US"/>
        </a:p>
      </dgm:t>
    </dgm:pt>
    <dgm:pt modelId="{479E4B0C-8841-4FA2-9B6A-1015836F3DB3}">
      <dgm:prSet/>
      <dgm:spPr/>
      <dgm:t>
        <a:bodyPr/>
        <a:lstStyle/>
        <a:p>
          <a:r>
            <a:rPr lang="en-US" baseline="0" dirty="0"/>
            <a:t>Stored procedures, Functions, Triggers</a:t>
          </a:r>
          <a:endParaRPr lang="en-US" dirty="0"/>
        </a:p>
      </dgm:t>
    </dgm:pt>
    <dgm:pt modelId="{25DD104A-A682-4E87-861B-77905F0EC766}" type="parTrans" cxnId="{EE4ADCCF-BE51-4FB4-AB7B-07BB82461D2E}">
      <dgm:prSet/>
      <dgm:spPr/>
      <dgm:t>
        <a:bodyPr/>
        <a:lstStyle/>
        <a:p>
          <a:endParaRPr lang="en-US"/>
        </a:p>
      </dgm:t>
    </dgm:pt>
    <dgm:pt modelId="{1C6088AE-8751-4B95-BBE7-7D032F63D585}" type="sibTrans" cxnId="{EE4ADCCF-BE51-4FB4-AB7B-07BB82461D2E}">
      <dgm:prSet/>
      <dgm:spPr/>
      <dgm:t>
        <a:bodyPr/>
        <a:lstStyle/>
        <a:p>
          <a:endParaRPr lang="en-US"/>
        </a:p>
      </dgm:t>
    </dgm:pt>
    <dgm:pt modelId="{F697A509-115F-423C-B3FC-65D7F9DD732B}">
      <dgm:prSet/>
      <dgm:spPr/>
      <dgm:t>
        <a:bodyPr/>
        <a:lstStyle/>
        <a:p>
          <a:r>
            <a:rPr lang="en-US" baseline="0" dirty="0"/>
            <a:t>Prepared statements and parameterized queries (sp_executesql)</a:t>
          </a:r>
          <a:endParaRPr lang="en-US" dirty="0"/>
        </a:p>
      </dgm:t>
    </dgm:pt>
    <dgm:pt modelId="{427B56EE-6175-4D06-A289-690A414C163A}" type="parTrans" cxnId="{5B29CB74-26F6-4066-ACA5-ED62C61217A8}">
      <dgm:prSet/>
      <dgm:spPr/>
      <dgm:t>
        <a:bodyPr/>
        <a:lstStyle/>
        <a:p>
          <a:endParaRPr lang="en-US"/>
        </a:p>
      </dgm:t>
    </dgm:pt>
    <dgm:pt modelId="{6E2D495B-8840-4C15-B42F-EB9A089F62C8}" type="sibTrans" cxnId="{5B29CB74-26F6-4066-ACA5-ED62C61217A8}">
      <dgm:prSet/>
      <dgm:spPr/>
      <dgm:t>
        <a:bodyPr/>
        <a:lstStyle/>
        <a:p>
          <a:endParaRPr lang="en-US"/>
        </a:p>
      </dgm:t>
    </dgm:pt>
    <dgm:pt modelId="{1C21C51A-CD0B-4019-A3EE-02D1611CBF27}" type="pres">
      <dgm:prSet presAssocID="{6BCD35BF-F9D8-4E98-A0BD-61458FBC85B1}" presName="Name0" presStyleCnt="0">
        <dgm:presLayoutVars>
          <dgm:dir/>
          <dgm:animLvl val="lvl"/>
          <dgm:resizeHandles val="exact"/>
        </dgm:presLayoutVars>
      </dgm:prSet>
      <dgm:spPr/>
    </dgm:pt>
    <dgm:pt modelId="{92526606-A55C-4330-8D2D-540FBC25CF6A}" type="pres">
      <dgm:prSet presAssocID="{E464D81B-C285-4CD3-BD40-18600D601C23}" presName="linNode" presStyleCnt="0"/>
      <dgm:spPr/>
    </dgm:pt>
    <dgm:pt modelId="{921C66B1-F72E-469E-A1A5-766BFD69EE6E}" type="pres">
      <dgm:prSet presAssocID="{E464D81B-C285-4CD3-BD40-18600D601C23}" presName="parentText" presStyleLbl="node1" presStyleIdx="0" presStyleCnt="3">
        <dgm:presLayoutVars>
          <dgm:chMax val="1"/>
          <dgm:bulletEnabled val="1"/>
        </dgm:presLayoutVars>
      </dgm:prSet>
      <dgm:spPr/>
    </dgm:pt>
    <dgm:pt modelId="{63344A51-086C-4132-8DCA-8D11584234C5}" type="pres">
      <dgm:prSet presAssocID="{E464D81B-C285-4CD3-BD40-18600D601C23}" presName="descendantText" presStyleLbl="alignAccFollowNode1" presStyleIdx="0" presStyleCnt="3">
        <dgm:presLayoutVars>
          <dgm:bulletEnabled val="1"/>
        </dgm:presLayoutVars>
      </dgm:prSet>
      <dgm:spPr/>
    </dgm:pt>
    <dgm:pt modelId="{38D6E590-CB5A-4B12-8FC1-FDA3FEB8AFDC}" type="pres">
      <dgm:prSet presAssocID="{5CB6AD22-2F50-4011-8DE6-CAB139911129}" presName="sp" presStyleCnt="0"/>
      <dgm:spPr/>
    </dgm:pt>
    <dgm:pt modelId="{2419A0CB-4379-49C3-AAEA-AF5355613E0C}" type="pres">
      <dgm:prSet presAssocID="{2CCBD4EB-E76D-4F4F-ABBB-E4489EDEF2BE}" presName="linNode" presStyleCnt="0"/>
      <dgm:spPr/>
    </dgm:pt>
    <dgm:pt modelId="{39CC2B3E-3196-4D9F-86CF-8A88B8AB8052}" type="pres">
      <dgm:prSet presAssocID="{2CCBD4EB-E76D-4F4F-ABBB-E4489EDEF2BE}" presName="parentText" presStyleLbl="node1" presStyleIdx="1" presStyleCnt="3">
        <dgm:presLayoutVars>
          <dgm:chMax val="1"/>
          <dgm:bulletEnabled val="1"/>
        </dgm:presLayoutVars>
      </dgm:prSet>
      <dgm:spPr/>
    </dgm:pt>
    <dgm:pt modelId="{FDA009E2-0319-432B-9F31-DFFAAEDD8B20}" type="pres">
      <dgm:prSet presAssocID="{2CCBD4EB-E76D-4F4F-ABBB-E4489EDEF2BE}" presName="descendantText" presStyleLbl="alignAccFollowNode1" presStyleIdx="1" presStyleCnt="3">
        <dgm:presLayoutVars>
          <dgm:bulletEnabled val="1"/>
        </dgm:presLayoutVars>
      </dgm:prSet>
      <dgm:spPr/>
    </dgm:pt>
    <dgm:pt modelId="{BE64C098-D87A-4DAC-AB9E-983D2DBF06A7}" type="pres">
      <dgm:prSet presAssocID="{03230513-2199-46BE-ABEB-26CD814EFA1B}" presName="sp" presStyleCnt="0"/>
      <dgm:spPr/>
    </dgm:pt>
    <dgm:pt modelId="{13743FC8-A7E6-41E6-9355-444507C4FCD3}" type="pres">
      <dgm:prSet presAssocID="{F4AA763C-68F1-4722-BA14-36BD3F446C4B}" presName="linNode" presStyleCnt="0"/>
      <dgm:spPr/>
    </dgm:pt>
    <dgm:pt modelId="{CC07D088-4892-4E5C-8123-1ABF1BF7BA81}" type="pres">
      <dgm:prSet presAssocID="{F4AA763C-68F1-4722-BA14-36BD3F446C4B}" presName="parentText" presStyleLbl="node1" presStyleIdx="2" presStyleCnt="3">
        <dgm:presLayoutVars>
          <dgm:chMax val="1"/>
          <dgm:bulletEnabled val="1"/>
        </dgm:presLayoutVars>
      </dgm:prSet>
      <dgm:spPr/>
    </dgm:pt>
    <dgm:pt modelId="{DBDF4D6F-4375-4583-A571-22E5E09D9615}" type="pres">
      <dgm:prSet presAssocID="{F4AA763C-68F1-4722-BA14-36BD3F446C4B}" presName="descendantText" presStyleLbl="alignAccFollowNode1" presStyleIdx="2" presStyleCnt="3">
        <dgm:presLayoutVars>
          <dgm:bulletEnabled val="1"/>
        </dgm:presLayoutVars>
      </dgm:prSet>
      <dgm:spPr/>
    </dgm:pt>
  </dgm:ptLst>
  <dgm:cxnLst>
    <dgm:cxn modelId="{94F8171F-DA48-4F73-9E64-693ECE06E8EF}" srcId="{2CCBD4EB-E76D-4F4F-ABBB-E4489EDEF2BE}" destId="{219AE4C6-5776-496C-B804-F1CCAC76320A}" srcOrd="0" destOrd="0" parTransId="{D2171FFD-BF55-4538-A269-4874418890AF}" sibTransId="{39E8E2C7-0876-401C-9242-993ED9AE26C7}"/>
    <dgm:cxn modelId="{FD3D1824-07B2-4252-8E49-DBB5F21196B8}" type="presOf" srcId="{219AE4C6-5776-496C-B804-F1CCAC76320A}" destId="{FDA009E2-0319-432B-9F31-DFFAAEDD8B20}" srcOrd="0" destOrd="0" presId="urn:microsoft.com/office/officeart/2005/8/layout/vList5"/>
    <dgm:cxn modelId="{10AFAC26-4D58-4CE8-914B-BA3CF09253E5}" type="presOf" srcId="{F697A509-115F-423C-B3FC-65D7F9DD732B}" destId="{DBDF4D6F-4375-4583-A571-22E5E09D9615}" srcOrd="0" destOrd="1" presId="urn:microsoft.com/office/officeart/2005/8/layout/vList5"/>
    <dgm:cxn modelId="{5074666C-2790-4BEB-97B8-BBF05C393296}" srcId="{6BCD35BF-F9D8-4E98-A0BD-61458FBC85B1}" destId="{2CCBD4EB-E76D-4F4F-ABBB-E4489EDEF2BE}" srcOrd="1" destOrd="0" parTransId="{B27A3923-093A-43F1-8911-00F4375B814E}" sibTransId="{03230513-2199-46BE-ABEB-26CD814EFA1B}"/>
    <dgm:cxn modelId="{94438674-1B33-4BB3-85F9-9B3BCF231050}" srcId="{6BCD35BF-F9D8-4E98-A0BD-61458FBC85B1}" destId="{F4AA763C-68F1-4722-BA14-36BD3F446C4B}" srcOrd="2" destOrd="0" parTransId="{7B65FF97-5662-48F3-8493-FFC496799833}" sibTransId="{47798103-3269-47CD-BE12-9C12CCD463D5}"/>
    <dgm:cxn modelId="{5B29CB74-26F6-4066-ACA5-ED62C61217A8}" srcId="{F4AA763C-68F1-4722-BA14-36BD3F446C4B}" destId="{F697A509-115F-423C-B3FC-65D7F9DD732B}" srcOrd="1" destOrd="0" parTransId="{427B56EE-6175-4D06-A289-690A414C163A}" sibTransId="{6E2D495B-8840-4C15-B42F-EB9A089F62C8}"/>
    <dgm:cxn modelId="{75286957-D1E4-4FB9-BDE6-E1E97D08D5B3}" srcId="{6BCD35BF-F9D8-4E98-A0BD-61458FBC85B1}" destId="{E464D81B-C285-4CD3-BD40-18600D601C23}" srcOrd="0" destOrd="0" parTransId="{9D70155A-7735-41CD-8BF8-AE57B6884612}" sibTransId="{5CB6AD22-2F50-4011-8DE6-CAB139911129}"/>
    <dgm:cxn modelId="{DB2C2E84-A62F-4479-9DA9-ED235A39E5C3}" srcId="{E464D81B-C285-4CD3-BD40-18600D601C23}" destId="{74D5A0B7-91FD-43FF-BD1D-98BF2B5EA408}" srcOrd="0" destOrd="0" parTransId="{0A934204-652D-4555-97BA-7407613F4D2E}" sibTransId="{711141CB-3BAD-470D-8330-801EEE241662}"/>
    <dgm:cxn modelId="{A724DC98-01A1-40FE-BEC0-41EE02CC3C1B}" type="presOf" srcId="{2CCBD4EB-E76D-4F4F-ABBB-E4489EDEF2BE}" destId="{39CC2B3E-3196-4D9F-86CF-8A88B8AB8052}" srcOrd="0" destOrd="0" presId="urn:microsoft.com/office/officeart/2005/8/layout/vList5"/>
    <dgm:cxn modelId="{0D1FBFB8-6DC0-4D7B-8C16-A1A6956FEFD2}" type="presOf" srcId="{E464D81B-C285-4CD3-BD40-18600D601C23}" destId="{921C66B1-F72E-469E-A1A5-766BFD69EE6E}" srcOrd="0" destOrd="0" presId="urn:microsoft.com/office/officeart/2005/8/layout/vList5"/>
    <dgm:cxn modelId="{C00E21C2-4A00-4941-BE86-A5E099E90C4C}" type="presOf" srcId="{6BCD35BF-F9D8-4E98-A0BD-61458FBC85B1}" destId="{1C21C51A-CD0B-4019-A3EE-02D1611CBF27}" srcOrd="0" destOrd="0" presId="urn:microsoft.com/office/officeart/2005/8/layout/vList5"/>
    <dgm:cxn modelId="{EE4ADCCF-BE51-4FB4-AB7B-07BB82461D2E}" srcId="{F4AA763C-68F1-4722-BA14-36BD3F446C4B}" destId="{479E4B0C-8841-4FA2-9B6A-1015836F3DB3}" srcOrd="0" destOrd="0" parTransId="{25DD104A-A682-4E87-861B-77905F0EC766}" sibTransId="{1C6088AE-8751-4B95-BBE7-7D032F63D585}"/>
    <dgm:cxn modelId="{EBB91FD2-131B-4EE8-BC2C-D1C45AEB8B4B}" type="presOf" srcId="{479E4B0C-8841-4FA2-9B6A-1015836F3DB3}" destId="{DBDF4D6F-4375-4583-A571-22E5E09D9615}" srcOrd="0" destOrd="0" presId="urn:microsoft.com/office/officeart/2005/8/layout/vList5"/>
    <dgm:cxn modelId="{6C65B8D7-6CEB-403A-A0CC-67347B8334C4}" type="presOf" srcId="{F4AA763C-68F1-4722-BA14-36BD3F446C4B}" destId="{CC07D088-4892-4E5C-8123-1ABF1BF7BA81}" srcOrd="0" destOrd="0" presId="urn:microsoft.com/office/officeart/2005/8/layout/vList5"/>
    <dgm:cxn modelId="{F264EFF1-B455-4875-8B53-BA313C30C545}" type="presOf" srcId="{74D5A0B7-91FD-43FF-BD1D-98BF2B5EA408}" destId="{63344A51-086C-4132-8DCA-8D11584234C5}" srcOrd="0" destOrd="0" presId="urn:microsoft.com/office/officeart/2005/8/layout/vList5"/>
    <dgm:cxn modelId="{065DE7F4-A40C-4D7A-8E1F-531BE43E15DA}" type="presParOf" srcId="{1C21C51A-CD0B-4019-A3EE-02D1611CBF27}" destId="{92526606-A55C-4330-8D2D-540FBC25CF6A}" srcOrd="0" destOrd="0" presId="urn:microsoft.com/office/officeart/2005/8/layout/vList5"/>
    <dgm:cxn modelId="{AF7631B4-0DA2-412C-809A-21E05CF3120B}" type="presParOf" srcId="{92526606-A55C-4330-8D2D-540FBC25CF6A}" destId="{921C66B1-F72E-469E-A1A5-766BFD69EE6E}" srcOrd="0" destOrd="0" presId="urn:microsoft.com/office/officeart/2005/8/layout/vList5"/>
    <dgm:cxn modelId="{6F8B3AF8-AE08-4690-BF5D-560230F74E1E}" type="presParOf" srcId="{92526606-A55C-4330-8D2D-540FBC25CF6A}" destId="{63344A51-086C-4132-8DCA-8D11584234C5}" srcOrd="1" destOrd="0" presId="urn:microsoft.com/office/officeart/2005/8/layout/vList5"/>
    <dgm:cxn modelId="{DB47DFDC-D638-4DCA-8AF9-2F2BD9434F71}" type="presParOf" srcId="{1C21C51A-CD0B-4019-A3EE-02D1611CBF27}" destId="{38D6E590-CB5A-4B12-8FC1-FDA3FEB8AFDC}" srcOrd="1" destOrd="0" presId="urn:microsoft.com/office/officeart/2005/8/layout/vList5"/>
    <dgm:cxn modelId="{0D6FF5AF-24CB-4CD5-BC39-6244114BB3D7}" type="presParOf" srcId="{1C21C51A-CD0B-4019-A3EE-02D1611CBF27}" destId="{2419A0CB-4379-49C3-AAEA-AF5355613E0C}" srcOrd="2" destOrd="0" presId="urn:microsoft.com/office/officeart/2005/8/layout/vList5"/>
    <dgm:cxn modelId="{578C6F90-7591-422C-909E-D23838BDB8DB}" type="presParOf" srcId="{2419A0CB-4379-49C3-AAEA-AF5355613E0C}" destId="{39CC2B3E-3196-4D9F-86CF-8A88B8AB8052}" srcOrd="0" destOrd="0" presId="urn:microsoft.com/office/officeart/2005/8/layout/vList5"/>
    <dgm:cxn modelId="{BDB2DE19-F3C3-424E-92CD-5D640ED16B4F}" type="presParOf" srcId="{2419A0CB-4379-49C3-AAEA-AF5355613E0C}" destId="{FDA009E2-0319-432B-9F31-DFFAAEDD8B20}" srcOrd="1" destOrd="0" presId="urn:microsoft.com/office/officeart/2005/8/layout/vList5"/>
    <dgm:cxn modelId="{1157DA3B-54EE-43F9-A55B-43AA91CD21CA}" type="presParOf" srcId="{1C21C51A-CD0B-4019-A3EE-02D1611CBF27}" destId="{BE64C098-D87A-4DAC-AB9E-983D2DBF06A7}" srcOrd="3" destOrd="0" presId="urn:microsoft.com/office/officeart/2005/8/layout/vList5"/>
    <dgm:cxn modelId="{47C97985-E187-48E4-BEEB-292F4143CA22}" type="presParOf" srcId="{1C21C51A-CD0B-4019-A3EE-02D1611CBF27}" destId="{13743FC8-A7E6-41E6-9355-444507C4FCD3}" srcOrd="4" destOrd="0" presId="urn:microsoft.com/office/officeart/2005/8/layout/vList5"/>
    <dgm:cxn modelId="{EEF590F0-DC5E-4066-953E-3C2580221619}" type="presParOf" srcId="{13743FC8-A7E6-41E6-9355-444507C4FCD3}" destId="{CC07D088-4892-4E5C-8123-1ABF1BF7BA81}" srcOrd="0" destOrd="0" presId="urn:microsoft.com/office/officeart/2005/8/layout/vList5"/>
    <dgm:cxn modelId="{04ED0477-AB5C-4326-9234-0A7EEC86A87D}" type="presParOf" srcId="{13743FC8-A7E6-41E6-9355-444507C4FCD3}" destId="{DBDF4D6F-4375-4583-A571-22E5E09D96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2BB4C4D-6A2A-4D52-A7B2-3DD1BC67C1AE}"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02C37799-61AD-4F0A-A12B-784AB963A475}">
      <dgm:prSet custT="1"/>
      <dgm:spPr/>
      <dgm:t>
        <a:bodyPr/>
        <a:lstStyle/>
        <a:p>
          <a:r>
            <a:rPr lang="en-US" sz="2200" baseline="0" dirty="0"/>
            <a:t>Improved performance as reuse saves time and CPU</a:t>
          </a:r>
          <a:endParaRPr lang="en-US" sz="2200" dirty="0"/>
        </a:p>
      </dgm:t>
    </dgm:pt>
    <dgm:pt modelId="{6DAD55D5-C023-4FC0-863B-DF551DE12024}" type="parTrans" cxnId="{00497EF6-086E-40D8-802A-090EE237E1D8}">
      <dgm:prSet/>
      <dgm:spPr/>
      <dgm:t>
        <a:bodyPr/>
        <a:lstStyle/>
        <a:p>
          <a:endParaRPr lang="en-US"/>
        </a:p>
      </dgm:t>
    </dgm:pt>
    <dgm:pt modelId="{E727E3E4-ACBC-4316-B42C-00C68F3797F0}" type="sibTrans" cxnId="{00497EF6-086E-40D8-802A-090EE237E1D8}">
      <dgm:prSet/>
      <dgm:spPr/>
      <dgm:t>
        <a:bodyPr/>
        <a:lstStyle/>
        <a:p>
          <a:endParaRPr lang="en-US"/>
        </a:p>
      </dgm:t>
    </dgm:pt>
    <dgm:pt modelId="{64AC0A19-F9CB-43B5-8461-FBC9A8196FCC}">
      <dgm:prSet/>
      <dgm:spPr/>
      <dgm:t>
        <a:bodyPr/>
        <a:lstStyle/>
        <a:p>
          <a:r>
            <a:rPr lang="en-US" baseline="0" dirty="0"/>
            <a:t>Degraded performance when reused plan is not optimal for all parameter values</a:t>
          </a:r>
          <a:endParaRPr lang="en-US" dirty="0"/>
        </a:p>
      </dgm:t>
    </dgm:pt>
    <dgm:pt modelId="{68A19E74-60ED-47E0-A4A4-E39197735101}" type="sibTrans" cxnId="{98EAA028-F102-4E5F-8483-C37187F1D2FB}">
      <dgm:prSet/>
      <dgm:spPr/>
      <dgm:t>
        <a:bodyPr/>
        <a:lstStyle/>
        <a:p>
          <a:endParaRPr lang="en-US"/>
        </a:p>
      </dgm:t>
    </dgm:pt>
    <dgm:pt modelId="{EA06E01D-77CF-4997-857D-D00B73698F49}" type="parTrans" cxnId="{98EAA028-F102-4E5F-8483-C37187F1D2FB}">
      <dgm:prSet/>
      <dgm:spPr/>
      <dgm:t>
        <a:bodyPr/>
        <a:lstStyle/>
        <a:p>
          <a:endParaRPr lang="en-US"/>
        </a:p>
      </dgm:t>
    </dgm:pt>
    <dgm:pt modelId="{66A0F6DE-DD9E-4924-B806-5E7747BA683D}">
      <dgm:prSet custT="1"/>
      <dgm:spPr/>
      <dgm:t>
        <a:bodyPr/>
        <a:lstStyle/>
        <a:p>
          <a:r>
            <a:rPr lang="en-US" sz="2400" dirty="0"/>
            <a:t>Benefit</a:t>
          </a:r>
        </a:p>
      </dgm:t>
    </dgm:pt>
    <dgm:pt modelId="{B85E5AA6-F03B-4BB0-8038-7E1B56E21362}" type="parTrans" cxnId="{138E2403-BE4B-44AB-BB7C-1DB0C2FD55E1}">
      <dgm:prSet/>
      <dgm:spPr/>
      <dgm:t>
        <a:bodyPr/>
        <a:lstStyle/>
        <a:p>
          <a:endParaRPr lang="en-US"/>
        </a:p>
      </dgm:t>
    </dgm:pt>
    <dgm:pt modelId="{72FE561F-D1D7-4CA9-B499-BA8DE3B5DA43}" type="sibTrans" cxnId="{138E2403-BE4B-44AB-BB7C-1DB0C2FD55E1}">
      <dgm:prSet/>
      <dgm:spPr/>
      <dgm:t>
        <a:bodyPr/>
        <a:lstStyle/>
        <a:p>
          <a:endParaRPr lang="en-US"/>
        </a:p>
      </dgm:t>
    </dgm:pt>
    <dgm:pt modelId="{EFA8FBAE-5BD2-47B9-AB4F-60BD9E3C3F30}">
      <dgm:prSet custT="1"/>
      <dgm:spPr/>
      <dgm:t>
        <a:bodyPr/>
        <a:lstStyle/>
        <a:p>
          <a:r>
            <a:rPr lang="en-US" sz="2400" dirty="0"/>
            <a:t>Drawback</a:t>
          </a:r>
        </a:p>
      </dgm:t>
    </dgm:pt>
    <dgm:pt modelId="{95DB631C-2D3F-41E6-A363-B0E9471AC120}" type="parTrans" cxnId="{E0872A53-B0DC-4983-A494-284BD23CCDEB}">
      <dgm:prSet/>
      <dgm:spPr/>
      <dgm:t>
        <a:bodyPr/>
        <a:lstStyle/>
        <a:p>
          <a:endParaRPr lang="en-US"/>
        </a:p>
      </dgm:t>
    </dgm:pt>
    <dgm:pt modelId="{31DB386E-3A23-4BB8-A758-87695A6613C2}" type="sibTrans" cxnId="{E0872A53-B0DC-4983-A494-284BD23CCDEB}">
      <dgm:prSet/>
      <dgm:spPr/>
      <dgm:t>
        <a:bodyPr/>
        <a:lstStyle/>
        <a:p>
          <a:endParaRPr lang="en-US"/>
        </a:p>
      </dgm:t>
    </dgm:pt>
    <dgm:pt modelId="{A3775955-7798-4A71-89E9-456FBB9C8523}" type="pres">
      <dgm:prSet presAssocID="{C2BB4C4D-6A2A-4D52-A7B2-3DD1BC67C1AE}" presName="Name0" presStyleCnt="0">
        <dgm:presLayoutVars>
          <dgm:dir/>
          <dgm:animLvl val="lvl"/>
          <dgm:resizeHandles val="exact"/>
        </dgm:presLayoutVars>
      </dgm:prSet>
      <dgm:spPr/>
    </dgm:pt>
    <dgm:pt modelId="{595D44B6-783E-421E-B194-36603BD536FE}" type="pres">
      <dgm:prSet presAssocID="{66A0F6DE-DD9E-4924-B806-5E7747BA683D}" presName="composite" presStyleCnt="0"/>
      <dgm:spPr/>
    </dgm:pt>
    <dgm:pt modelId="{C8EA2300-0902-41CF-8DE3-EF1333A19D2A}" type="pres">
      <dgm:prSet presAssocID="{66A0F6DE-DD9E-4924-B806-5E7747BA683D}" presName="parTx" presStyleLbl="alignNode1" presStyleIdx="0" presStyleCnt="2">
        <dgm:presLayoutVars>
          <dgm:chMax val="0"/>
          <dgm:chPref val="0"/>
          <dgm:bulletEnabled val="1"/>
        </dgm:presLayoutVars>
      </dgm:prSet>
      <dgm:spPr/>
    </dgm:pt>
    <dgm:pt modelId="{BAD13D12-81A5-4696-8F90-2CDFECF2217D}" type="pres">
      <dgm:prSet presAssocID="{66A0F6DE-DD9E-4924-B806-5E7747BA683D}" presName="desTx" presStyleLbl="alignAccFollowNode1" presStyleIdx="0" presStyleCnt="2">
        <dgm:presLayoutVars>
          <dgm:bulletEnabled val="1"/>
        </dgm:presLayoutVars>
      </dgm:prSet>
      <dgm:spPr/>
    </dgm:pt>
    <dgm:pt modelId="{BA378507-37E3-4441-8B3D-4B018C2C9CDB}" type="pres">
      <dgm:prSet presAssocID="{72FE561F-D1D7-4CA9-B499-BA8DE3B5DA43}" presName="space" presStyleCnt="0"/>
      <dgm:spPr/>
    </dgm:pt>
    <dgm:pt modelId="{D74E899B-2966-40DC-B6AD-6B334723EFD1}" type="pres">
      <dgm:prSet presAssocID="{EFA8FBAE-5BD2-47B9-AB4F-60BD9E3C3F30}" presName="composite" presStyleCnt="0"/>
      <dgm:spPr/>
    </dgm:pt>
    <dgm:pt modelId="{00C82F43-D0EC-4416-9542-381A0C09BD27}" type="pres">
      <dgm:prSet presAssocID="{EFA8FBAE-5BD2-47B9-AB4F-60BD9E3C3F30}" presName="parTx" presStyleLbl="alignNode1" presStyleIdx="1" presStyleCnt="2">
        <dgm:presLayoutVars>
          <dgm:chMax val="0"/>
          <dgm:chPref val="0"/>
          <dgm:bulletEnabled val="1"/>
        </dgm:presLayoutVars>
      </dgm:prSet>
      <dgm:spPr/>
    </dgm:pt>
    <dgm:pt modelId="{2F8EF1CB-44EC-4B3D-B02F-AB0D218C0B47}" type="pres">
      <dgm:prSet presAssocID="{EFA8FBAE-5BD2-47B9-AB4F-60BD9E3C3F30}" presName="desTx" presStyleLbl="alignAccFollowNode1" presStyleIdx="1" presStyleCnt="2">
        <dgm:presLayoutVars>
          <dgm:bulletEnabled val="1"/>
        </dgm:presLayoutVars>
      </dgm:prSet>
      <dgm:spPr/>
    </dgm:pt>
  </dgm:ptLst>
  <dgm:cxnLst>
    <dgm:cxn modelId="{138E2403-BE4B-44AB-BB7C-1DB0C2FD55E1}" srcId="{C2BB4C4D-6A2A-4D52-A7B2-3DD1BC67C1AE}" destId="{66A0F6DE-DD9E-4924-B806-5E7747BA683D}" srcOrd="0" destOrd="0" parTransId="{B85E5AA6-F03B-4BB0-8038-7E1B56E21362}" sibTransId="{72FE561F-D1D7-4CA9-B499-BA8DE3B5DA43}"/>
    <dgm:cxn modelId="{98EAA028-F102-4E5F-8483-C37187F1D2FB}" srcId="{EFA8FBAE-5BD2-47B9-AB4F-60BD9E3C3F30}" destId="{64AC0A19-F9CB-43B5-8461-FBC9A8196FCC}" srcOrd="0" destOrd="0" parTransId="{EA06E01D-77CF-4997-857D-D00B73698F49}" sibTransId="{68A19E74-60ED-47E0-A4A4-E39197735101}"/>
    <dgm:cxn modelId="{E0872A53-B0DC-4983-A494-284BD23CCDEB}" srcId="{C2BB4C4D-6A2A-4D52-A7B2-3DD1BC67C1AE}" destId="{EFA8FBAE-5BD2-47B9-AB4F-60BD9E3C3F30}" srcOrd="1" destOrd="0" parTransId="{95DB631C-2D3F-41E6-A363-B0E9471AC120}" sibTransId="{31DB386E-3A23-4BB8-A758-87695A6613C2}"/>
    <dgm:cxn modelId="{FFC1538A-0CDF-4CDB-90F0-7A77E2E871CF}" type="presOf" srcId="{64AC0A19-F9CB-43B5-8461-FBC9A8196FCC}" destId="{2F8EF1CB-44EC-4B3D-B02F-AB0D218C0B47}" srcOrd="0" destOrd="0" presId="urn:microsoft.com/office/officeart/2005/8/layout/hList1"/>
    <dgm:cxn modelId="{55B4D297-5249-4ACD-B35A-7DEE1A79CCA8}" type="presOf" srcId="{EFA8FBAE-5BD2-47B9-AB4F-60BD9E3C3F30}" destId="{00C82F43-D0EC-4416-9542-381A0C09BD27}" srcOrd="0" destOrd="0" presId="urn:microsoft.com/office/officeart/2005/8/layout/hList1"/>
    <dgm:cxn modelId="{6A5972A3-8D51-421A-9C3D-11871E8E59D5}" type="presOf" srcId="{66A0F6DE-DD9E-4924-B806-5E7747BA683D}" destId="{C8EA2300-0902-41CF-8DE3-EF1333A19D2A}" srcOrd="0" destOrd="0" presId="urn:microsoft.com/office/officeart/2005/8/layout/hList1"/>
    <dgm:cxn modelId="{7755FCBD-081F-4E47-B969-A48511AECDD4}" type="presOf" srcId="{02C37799-61AD-4F0A-A12B-784AB963A475}" destId="{BAD13D12-81A5-4696-8F90-2CDFECF2217D}" srcOrd="0" destOrd="0" presId="urn:microsoft.com/office/officeart/2005/8/layout/hList1"/>
    <dgm:cxn modelId="{CE40ABBE-22B4-448C-AB4D-92CD096180E8}" type="presOf" srcId="{C2BB4C4D-6A2A-4D52-A7B2-3DD1BC67C1AE}" destId="{A3775955-7798-4A71-89E9-456FBB9C8523}" srcOrd="0" destOrd="0" presId="urn:microsoft.com/office/officeart/2005/8/layout/hList1"/>
    <dgm:cxn modelId="{00497EF6-086E-40D8-802A-090EE237E1D8}" srcId="{66A0F6DE-DD9E-4924-B806-5E7747BA683D}" destId="{02C37799-61AD-4F0A-A12B-784AB963A475}" srcOrd="0" destOrd="0" parTransId="{6DAD55D5-C023-4FC0-863B-DF551DE12024}" sibTransId="{E727E3E4-ACBC-4316-B42C-00C68F3797F0}"/>
    <dgm:cxn modelId="{8F01A741-0C0E-4ACA-9AFF-1FB19FC7E764}" type="presParOf" srcId="{A3775955-7798-4A71-89E9-456FBB9C8523}" destId="{595D44B6-783E-421E-B194-36603BD536FE}" srcOrd="0" destOrd="0" presId="urn:microsoft.com/office/officeart/2005/8/layout/hList1"/>
    <dgm:cxn modelId="{787A832A-6ECF-41AA-8D66-A5FD9BB0CE83}" type="presParOf" srcId="{595D44B6-783E-421E-B194-36603BD536FE}" destId="{C8EA2300-0902-41CF-8DE3-EF1333A19D2A}" srcOrd="0" destOrd="0" presId="urn:microsoft.com/office/officeart/2005/8/layout/hList1"/>
    <dgm:cxn modelId="{BD583637-DA0E-4ED2-9F4B-21C0BC934FBB}" type="presParOf" srcId="{595D44B6-783E-421E-B194-36603BD536FE}" destId="{BAD13D12-81A5-4696-8F90-2CDFECF2217D}" srcOrd="1" destOrd="0" presId="urn:microsoft.com/office/officeart/2005/8/layout/hList1"/>
    <dgm:cxn modelId="{27CD0FBF-303F-4411-A168-E10D07DDB126}" type="presParOf" srcId="{A3775955-7798-4A71-89E9-456FBB9C8523}" destId="{BA378507-37E3-4441-8B3D-4B018C2C9CDB}" srcOrd="1" destOrd="0" presId="urn:microsoft.com/office/officeart/2005/8/layout/hList1"/>
    <dgm:cxn modelId="{D44299B8-6378-45E3-9C14-F8564255B008}" type="presParOf" srcId="{A3775955-7798-4A71-89E9-456FBB9C8523}" destId="{D74E899B-2966-40DC-B6AD-6B334723EFD1}" srcOrd="2" destOrd="0" presId="urn:microsoft.com/office/officeart/2005/8/layout/hList1"/>
    <dgm:cxn modelId="{278E2156-46D0-4B9F-A250-48FD00EB4062}" type="presParOf" srcId="{D74E899B-2966-40DC-B6AD-6B334723EFD1}" destId="{00C82F43-D0EC-4416-9542-381A0C09BD27}" srcOrd="0" destOrd="0" presId="urn:microsoft.com/office/officeart/2005/8/layout/hList1"/>
    <dgm:cxn modelId="{EA731C24-9BB8-41DE-AEB9-49F1D9DDB64A}" type="presParOf" srcId="{D74E899B-2966-40DC-B6AD-6B334723EFD1}" destId="{2F8EF1CB-44EC-4B3D-B02F-AB0D218C0B4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2BB4C4D-6A2A-4D52-A7B2-3DD1BC67C1AE}" type="doc">
      <dgm:prSet loTypeId="urn:microsoft.com/office/officeart/2005/8/layout/arrow6" loCatId="relationship" qsTypeId="urn:microsoft.com/office/officeart/2005/8/quickstyle/simple1" qsCatId="simple" csTypeId="urn:microsoft.com/office/officeart/2005/8/colors/accent6_2" csCatId="accent6" phldr="1"/>
      <dgm:spPr/>
      <dgm:t>
        <a:bodyPr/>
        <a:lstStyle/>
        <a:p>
          <a:endParaRPr lang="en-US"/>
        </a:p>
      </dgm:t>
    </dgm:pt>
    <dgm:pt modelId="{117B3CD5-38BD-46D1-B0E2-325B40325721}">
      <dgm:prSet/>
      <dgm:spPr/>
      <dgm:t>
        <a:bodyPr/>
        <a:lstStyle/>
        <a:p>
          <a:pPr algn="ctr"/>
          <a:r>
            <a:rPr lang="en-US" baseline="0" dirty="0"/>
            <a:t>Parameter Sniffing</a:t>
          </a:r>
          <a:endParaRPr lang="en-US" dirty="0"/>
        </a:p>
      </dgm:t>
    </dgm:pt>
    <dgm:pt modelId="{EB194D97-7ED6-411B-B21E-F4AEF359C847}" type="parTrans" cxnId="{2E3705FA-0833-4733-BDFC-438AC7B0F98F}">
      <dgm:prSet/>
      <dgm:spPr/>
      <dgm:t>
        <a:bodyPr/>
        <a:lstStyle/>
        <a:p>
          <a:endParaRPr lang="en-US"/>
        </a:p>
      </dgm:t>
    </dgm:pt>
    <dgm:pt modelId="{AA4AAB29-8D94-4B28-8998-5140C86C355D}" type="sibTrans" cxnId="{2E3705FA-0833-4733-BDFC-438AC7B0F98F}">
      <dgm:prSet/>
      <dgm:spPr/>
      <dgm:t>
        <a:bodyPr/>
        <a:lstStyle/>
        <a:p>
          <a:endParaRPr lang="en-US"/>
        </a:p>
      </dgm:t>
    </dgm:pt>
    <dgm:pt modelId="{DAAD3C80-15E2-4C62-90F9-D3A68C29395B}">
      <dgm:prSet/>
      <dgm:spPr/>
      <dgm:t>
        <a:bodyPr/>
        <a:lstStyle/>
        <a:p>
          <a:pPr rtl="0"/>
          <a:r>
            <a:rPr lang="en-US" baseline="0" dirty="0"/>
            <a:t>Optimizer’s ability to see (sniff) parameter values at compile time and so create a cost-effective execution plan</a:t>
          </a:r>
          <a:r>
            <a:rPr lang="en-US" baseline="0" dirty="0">
              <a:latin typeface="Segoe UI Semibold"/>
            </a:rPr>
            <a:t>.  </a:t>
          </a:r>
          <a:endParaRPr lang="en-US" b="1" dirty="0"/>
        </a:p>
      </dgm:t>
    </dgm:pt>
    <dgm:pt modelId="{323286F1-B937-4C7E-9CC8-671AB2A92E45}" type="parTrans" cxnId="{D095AE43-8A6F-4758-9A3C-AA38240D2DA8}">
      <dgm:prSet/>
      <dgm:spPr/>
      <dgm:t>
        <a:bodyPr/>
        <a:lstStyle/>
        <a:p>
          <a:endParaRPr lang="en-US"/>
        </a:p>
      </dgm:t>
    </dgm:pt>
    <dgm:pt modelId="{9B45E7DD-F046-4C2E-BA48-9A09B25C1AAE}" type="sibTrans" cxnId="{D095AE43-8A6F-4758-9A3C-AA38240D2DA8}">
      <dgm:prSet/>
      <dgm:spPr/>
      <dgm:t>
        <a:bodyPr/>
        <a:lstStyle/>
        <a:p>
          <a:endParaRPr lang="en-US"/>
        </a:p>
      </dgm:t>
    </dgm:pt>
    <dgm:pt modelId="{3BB68028-0FF7-4CE3-BD36-B5E680159F89}">
      <dgm:prSet/>
      <dgm:spPr/>
      <dgm:t>
        <a:bodyPr/>
        <a:lstStyle/>
        <a:p>
          <a:pPr algn="ctr"/>
          <a:r>
            <a:rPr lang="en-US" baseline="0" dirty="0"/>
            <a:t>Recompile hints</a:t>
          </a:r>
          <a:endParaRPr lang="en-US" dirty="0"/>
        </a:p>
      </dgm:t>
    </dgm:pt>
    <dgm:pt modelId="{21148237-9CA7-4235-B42B-BD8E18F8292B}" type="parTrans" cxnId="{BD161744-3055-4366-8E6F-FCB94E6B2297}">
      <dgm:prSet/>
      <dgm:spPr/>
      <dgm:t>
        <a:bodyPr/>
        <a:lstStyle/>
        <a:p>
          <a:endParaRPr lang="en-US"/>
        </a:p>
      </dgm:t>
    </dgm:pt>
    <dgm:pt modelId="{E7DCD27E-52B8-44A7-A86E-39C465D32656}" type="sibTrans" cxnId="{BD161744-3055-4366-8E6F-FCB94E6B2297}">
      <dgm:prSet/>
      <dgm:spPr/>
      <dgm:t>
        <a:bodyPr/>
        <a:lstStyle/>
        <a:p>
          <a:endParaRPr lang="en-US"/>
        </a:p>
      </dgm:t>
    </dgm:pt>
    <dgm:pt modelId="{41A5CBAC-3AEE-4A86-812C-3A3A58061674}">
      <dgm:prSet/>
      <dgm:spPr/>
      <dgm:t>
        <a:bodyPr/>
        <a:lstStyle/>
        <a:p>
          <a:r>
            <a:rPr lang="en-US" baseline="0" dirty="0"/>
            <a:t>Prevent caching of plans at the object or statement (preferred) level</a:t>
          </a:r>
          <a:endParaRPr lang="en-US" dirty="0"/>
        </a:p>
      </dgm:t>
    </dgm:pt>
    <dgm:pt modelId="{B12F2A2D-9383-4A57-88D8-05FCF6392B9C}" type="parTrans" cxnId="{32F06807-6AFB-494B-BE0B-96C603DFC6BB}">
      <dgm:prSet/>
      <dgm:spPr/>
      <dgm:t>
        <a:bodyPr/>
        <a:lstStyle/>
        <a:p>
          <a:endParaRPr lang="en-US"/>
        </a:p>
      </dgm:t>
    </dgm:pt>
    <dgm:pt modelId="{F4B99681-99AB-465F-9749-BC5871392F5B}" type="sibTrans" cxnId="{32F06807-6AFB-494B-BE0B-96C603DFC6BB}">
      <dgm:prSet/>
      <dgm:spPr/>
      <dgm:t>
        <a:bodyPr/>
        <a:lstStyle/>
        <a:p>
          <a:endParaRPr lang="en-US"/>
        </a:p>
      </dgm:t>
    </dgm:pt>
    <dgm:pt modelId="{BB5098A9-E3B1-46A0-8557-4BCFBDE36F20}">
      <dgm:prSet/>
      <dgm:spPr/>
      <dgm:t>
        <a:bodyPr/>
        <a:lstStyle/>
        <a:p>
          <a:r>
            <a:rPr lang="en-US" baseline="0" dirty="0"/>
            <a:t>sp_recompile &lt;object_name&gt; to manually force recompilation</a:t>
          </a:r>
          <a:endParaRPr lang="en-US" dirty="0"/>
        </a:p>
      </dgm:t>
    </dgm:pt>
    <dgm:pt modelId="{99F81B8A-CE95-4142-AC6F-602713430FDE}" type="parTrans" cxnId="{459B5D9F-ABFC-444C-BF32-8E4718D2C0ED}">
      <dgm:prSet/>
      <dgm:spPr/>
      <dgm:t>
        <a:bodyPr/>
        <a:lstStyle/>
        <a:p>
          <a:endParaRPr lang="en-US"/>
        </a:p>
      </dgm:t>
    </dgm:pt>
    <dgm:pt modelId="{1E535CD7-6E21-43F5-88F9-B32760082811}" type="sibTrans" cxnId="{459B5D9F-ABFC-444C-BF32-8E4718D2C0ED}">
      <dgm:prSet/>
      <dgm:spPr/>
      <dgm:t>
        <a:bodyPr/>
        <a:lstStyle/>
        <a:p>
          <a:endParaRPr lang="en-US"/>
        </a:p>
      </dgm:t>
    </dgm:pt>
    <dgm:pt modelId="{DEF0FA18-D445-4B13-9E8E-9D15473DC6C5}">
      <dgm:prSet/>
      <dgm:spPr/>
      <dgm:t>
        <a:bodyPr/>
        <a:lstStyle/>
        <a:p>
          <a:r>
            <a:rPr lang="en-US" b="0" u="sng" dirty="0"/>
            <a:t>Only</a:t>
          </a:r>
          <a:r>
            <a:rPr lang="en-US" b="0" dirty="0"/>
            <a:t> p</a:t>
          </a:r>
          <a:r>
            <a:rPr lang="en-US" dirty="0"/>
            <a:t>roblematic when compile parameters aren’t representative</a:t>
          </a:r>
        </a:p>
      </dgm:t>
    </dgm:pt>
    <dgm:pt modelId="{1FEA1664-2335-4E87-A830-AECA7BC0C3F1}" type="parTrans" cxnId="{43F20BD5-1CCA-4024-9819-00EBA8E2E23D}">
      <dgm:prSet/>
      <dgm:spPr/>
      <dgm:t>
        <a:bodyPr/>
        <a:lstStyle/>
        <a:p>
          <a:endParaRPr lang="en-US"/>
        </a:p>
      </dgm:t>
    </dgm:pt>
    <dgm:pt modelId="{C7051F27-8633-43DE-BA70-34EF39043703}" type="sibTrans" cxnId="{43F20BD5-1CCA-4024-9819-00EBA8E2E23D}">
      <dgm:prSet/>
      <dgm:spPr/>
      <dgm:t>
        <a:bodyPr/>
        <a:lstStyle/>
        <a:p>
          <a:endParaRPr lang="en-US"/>
        </a:p>
      </dgm:t>
    </dgm:pt>
    <dgm:pt modelId="{98848F1D-3267-43A9-B73D-9581BEE36F7E}">
      <dgm:prSet/>
      <dgm:spPr/>
      <dgm:t>
        <a:bodyPr/>
        <a:lstStyle/>
        <a:p>
          <a:r>
            <a:rPr lang="en-US" b="0" baseline="0" dirty="0"/>
            <a:t>This is generally beneficial.</a:t>
          </a:r>
          <a:endParaRPr lang="en-US" b="0" dirty="0"/>
        </a:p>
      </dgm:t>
    </dgm:pt>
    <dgm:pt modelId="{1C0489F3-F2C2-4FFD-A5E3-156380D6289A}" type="parTrans" cxnId="{6AFEDE10-4E77-434C-8D7C-50B604AC7639}">
      <dgm:prSet/>
      <dgm:spPr/>
      <dgm:t>
        <a:bodyPr/>
        <a:lstStyle/>
        <a:p>
          <a:endParaRPr lang="en-US"/>
        </a:p>
      </dgm:t>
    </dgm:pt>
    <dgm:pt modelId="{83CB7A03-7BD7-4379-BA08-73A5714011A5}" type="sibTrans" cxnId="{6AFEDE10-4E77-434C-8D7C-50B604AC7639}">
      <dgm:prSet/>
      <dgm:spPr/>
      <dgm:t>
        <a:bodyPr/>
        <a:lstStyle/>
        <a:p>
          <a:endParaRPr lang="en-US"/>
        </a:p>
      </dgm:t>
    </dgm:pt>
    <dgm:pt modelId="{5C06F45D-F2C9-4732-858E-9BCD450AD6D7}" type="pres">
      <dgm:prSet presAssocID="{C2BB4C4D-6A2A-4D52-A7B2-3DD1BC67C1AE}" presName="compositeShape" presStyleCnt="0">
        <dgm:presLayoutVars>
          <dgm:chMax val="2"/>
          <dgm:dir/>
          <dgm:resizeHandles val="exact"/>
        </dgm:presLayoutVars>
      </dgm:prSet>
      <dgm:spPr/>
    </dgm:pt>
    <dgm:pt modelId="{61E681C0-A19D-42B4-9C8C-3286F68DB5FB}" type="pres">
      <dgm:prSet presAssocID="{C2BB4C4D-6A2A-4D52-A7B2-3DD1BC67C1AE}" presName="ribbon" presStyleLbl="node1" presStyleIdx="0" presStyleCnt="1" custScaleX="132014"/>
      <dgm:spPr/>
    </dgm:pt>
    <dgm:pt modelId="{765C8ED6-EAE6-4CF5-AD1F-6474517BD6D5}" type="pres">
      <dgm:prSet presAssocID="{C2BB4C4D-6A2A-4D52-A7B2-3DD1BC67C1AE}" presName="leftArrowText" presStyleLbl="node1" presStyleIdx="0" presStyleCnt="1" custScaleX="116701" custLinFactNeighborX="-11429">
        <dgm:presLayoutVars>
          <dgm:chMax val="0"/>
          <dgm:bulletEnabled val="1"/>
        </dgm:presLayoutVars>
      </dgm:prSet>
      <dgm:spPr/>
    </dgm:pt>
    <dgm:pt modelId="{B1F73455-BB74-4E53-B758-E009DED876F4}" type="pres">
      <dgm:prSet presAssocID="{C2BB4C4D-6A2A-4D52-A7B2-3DD1BC67C1AE}" presName="rightArrowText" presStyleLbl="node1" presStyleIdx="0" presStyleCnt="1" custScaleX="119297" custLinFactNeighborX="21276" custLinFactNeighborY="-2195">
        <dgm:presLayoutVars>
          <dgm:chMax val="0"/>
          <dgm:bulletEnabled val="1"/>
        </dgm:presLayoutVars>
      </dgm:prSet>
      <dgm:spPr/>
    </dgm:pt>
  </dgm:ptLst>
  <dgm:cxnLst>
    <dgm:cxn modelId="{32F06807-6AFB-494B-BE0B-96C603DFC6BB}" srcId="{3BB68028-0FF7-4CE3-BD36-B5E680159F89}" destId="{41A5CBAC-3AEE-4A86-812C-3A3A58061674}" srcOrd="0" destOrd="0" parTransId="{B12F2A2D-9383-4A57-88D8-05FCF6392B9C}" sibTransId="{F4B99681-99AB-465F-9749-BC5871392F5B}"/>
    <dgm:cxn modelId="{98A73C0C-DA74-4504-BC1C-240ACC2C089C}" type="presOf" srcId="{3BB68028-0FF7-4CE3-BD36-B5E680159F89}" destId="{B1F73455-BB74-4E53-B758-E009DED876F4}" srcOrd="0" destOrd="0" presId="urn:microsoft.com/office/officeart/2005/8/layout/arrow6"/>
    <dgm:cxn modelId="{6AFEDE10-4E77-434C-8D7C-50B604AC7639}" srcId="{117B3CD5-38BD-46D1-B0E2-325B40325721}" destId="{98848F1D-3267-43A9-B73D-9581BEE36F7E}" srcOrd="1" destOrd="0" parTransId="{1C0489F3-F2C2-4FFD-A5E3-156380D6289A}" sibTransId="{83CB7A03-7BD7-4379-BA08-73A5714011A5}"/>
    <dgm:cxn modelId="{3E8CB634-52A6-4171-A6F5-75E32CD04033}" type="presOf" srcId="{117B3CD5-38BD-46D1-B0E2-325B40325721}" destId="{765C8ED6-EAE6-4CF5-AD1F-6474517BD6D5}" srcOrd="0" destOrd="0" presId="urn:microsoft.com/office/officeart/2005/8/layout/arrow6"/>
    <dgm:cxn modelId="{DA619342-DE3C-4570-ACBB-EE9E0A6DFC22}" type="presOf" srcId="{41A5CBAC-3AEE-4A86-812C-3A3A58061674}" destId="{B1F73455-BB74-4E53-B758-E009DED876F4}" srcOrd="0" destOrd="1" presId="urn:microsoft.com/office/officeart/2005/8/layout/arrow6"/>
    <dgm:cxn modelId="{D095AE43-8A6F-4758-9A3C-AA38240D2DA8}" srcId="{117B3CD5-38BD-46D1-B0E2-325B40325721}" destId="{DAAD3C80-15E2-4C62-90F9-D3A68C29395B}" srcOrd="0" destOrd="0" parTransId="{323286F1-B937-4C7E-9CC8-671AB2A92E45}" sibTransId="{9B45E7DD-F046-4C2E-BA48-9A09B25C1AAE}"/>
    <dgm:cxn modelId="{BD161744-3055-4366-8E6F-FCB94E6B2297}" srcId="{C2BB4C4D-6A2A-4D52-A7B2-3DD1BC67C1AE}" destId="{3BB68028-0FF7-4CE3-BD36-B5E680159F89}" srcOrd="1" destOrd="0" parTransId="{21148237-9CA7-4235-B42B-BD8E18F8292B}" sibTransId="{E7DCD27E-52B8-44A7-A86E-39C465D32656}"/>
    <dgm:cxn modelId="{8202B495-0E99-461A-A37D-6AAD799BDA9F}" type="presOf" srcId="{C2BB4C4D-6A2A-4D52-A7B2-3DD1BC67C1AE}" destId="{5C06F45D-F2C9-4732-858E-9BCD450AD6D7}" srcOrd="0" destOrd="0" presId="urn:microsoft.com/office/officeart/2005/8/layout/arrow6"/>
    <dgm:cxn modelId="{459B5D9F-ABFC-444C-BF32-8E4718D2C0ED}" srcId="{3BB68028-0FF7-4CE3-BD36-B5E680159F89}" destId="{BB5098A9-E3B1-46A0-8557-4BCFBDE36F20}" srcOrd="1" destOrd="0" parTransId="{99F81B8A-CE95-4142-AC6F-602713430FDE}" sibTransId="{1E535CD7-6E21-43F5-88F9-B32760082811}"/>
    <dgm:cxn modelId="{34BF3AB1-F0DA-4EF4-9895-EB5C800CBF2F}" type="presOf" srcId="{BB5098A9-E3B1-46A0-8557-4BCFBDE36F20}" destId="{B1F73455-BB74-4E53-B758-E009DED876F4}" srcOrd="0" destOrd="2" presId="urn:microsoft.com/office/officeart/2005/8/layout/arrow6"/>
    <dgm:cxn modelId="{52F0C3B6-ECE7-41C0-9053-D30EB865FE9D}" type="presOf" srcId="{98848F1D-3267-43A9-B73D-9581BEE36F7E}" destId="{765C8ED6-EAE6-4CF5-AD1F-6474517BD6D5}" srcOrd="0" destOrd="2" presId="urn:microsoft.com/office/officeart/2005/8/layout/arrow6"/>
    <dgm:cxn modelId="{236413BB-6262-44C9-9565-1277D90875DB}" type="presOf" srcId="{DEF0FA18-D445-4B13-9E8E-9D15473DC6C5}" destId="{765C8ED6-EAE6-4CF5-AD1F-6474517BD6D5}" srcOrd="0" destOrd="3" presId="urn:microsoft.com/office/officeart/2005/8/layout/arrow6"/>
    <dgm:cxn modelId="{BA759BBC-A33F-496F-BB3B-C78B01BD0F68}" type="presOf" srcId="{DAAD3C80-15E2-4C62-90F9-D3A68C29395B}" destId="{765C8ED6-EAE6-4CF5-AD1F-6474517BD6D5}" srcOrd="0" destOrd="1" presId="urn:microsoft.com/office/officeart/2005/8/layout/arrow6"/>
    <dgm:cxn modelId="{43F20BD5-1CCA-4024-9819-00EBA8E2E23D}" srcId="{117B3CD5-38BD-46D1-B0E2-325B40325721}" destId="{DEF0FA18-D445-4B13-9E8E-9D15473DC6C5}" srcOrd="2" destOrd="0" parTransId="{1FEA1664-2335-4E87-A830-AECA7BC0C3F1}" sibTransId="{C7051F27-8633-43DE-BA70-34EF39043703}"/>
    <dgm:cxn modelId="{2E3705FA-0833-4733-BDFC-438AC7B0F98F}" srcId="{C2BB4C4D-6A2A-4D52-A7B2-3DD1BC67C1AE}" destId="{117B3CD5-38BD-46D1-B0E2-325B40325721}" srcOrd="0" destOrd="0" parTransId="{EB194D97-7ED6-411B-B21E-F4AEF359C847}" sibTransId="{AA4AAB29-8D94-4B28-8998-5140C86C355D}"/>
    <dgm:cxn modelId="{92121B88-15A0-423F-9DB7-78EB8DD59B06}" type="presParOf" srcId="{5C06F45D-F2C9-4732-858E-9BCD450AD6D7}" destId="{61E681C0-A19D-42B4-9C8C-3286F68DB5FB}" srcOrd="0" destOrd="0" presId="urn:microsoft.com/office/officeart/2005/8/layout/arrow6"/>
    <dgm:cxn modelId="{A6A10B1D-1ACD-43E3-B9AF-867850ED583B}" type="presParOf" srcId="{5C06F45D-F2C9-4732-858E-9BCD450AD6D7}" destId="{765C8ED6-EAE6-4CF5-AD1F-6474517BD6D5}" srcOrd="1" destOrd="0" presId="urn:microsoft.com/office/officeart/2005/8/layout/arrow6"/>
    <dgm:cxn modelId="{0651D622-828F-4AC3-97C6-B380650328D5}" type="presParOf" srcId="{5C06F45D-F2C9-4732-858E-9BCD450AD6D7}" destId="{B1F73455-BB74-4E53-B758-E009DED876F4}" srcOrd="2" destOrd="0" presId="urn:microsoft.com/office/officeart/2005/8/layout/arrow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AU"/>
        </a:p>
      </dgm:t>
    </dgm:pt>
    <dgm:pt modelId="{CDCA19B1-3B45-4B24-8F19-085A650701BC}">
      <dgm:prSet custT="1"/>
      <dgm:spPr/>
      <dgm:t>
        <a:bodyPr/>
        <a:lstStyle/>
        <a:p>
          <a:r>
            <a:rPr lang="en-US" sz="2400" dirty="0"/>
            <a:t>Is the size of the plan cache fixe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How long do query plans remain in the plan cach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is plan caching helpful?</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custT="1"/>
      <dgm:spPr/>
      <dgm:t>
        <a:bodyPr/>
        <a:lstStyle/>
        <a:p>
          <a:r>
            <a:rPr lang="en-US" sz="2400" dirty="0"/>
            <a:t>Why are </a:t>
          </a:r>
          <a:r>
            <a:rPr lang="en-US" sz="2400" i="1" dirty="0"/>
            <a:t>ad hoc </a:t>
          </a:r>
          <a:r>
            <a:rPr lang="en-US" sz="2400" dirty="0"/>
            <a:t>query plans sometimes problematic?</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custT="1"/>
      <dgm:spPr/>
      <dgm:t>
        <a:bodyPr/>
        <a:lstStyle/>
        <a:p>
          <a:r>
            <a:rPr lang="en-US" sz="2400" dirty="0"/>
            <a:t>What can be done to address a parameter sniffing issue?</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72607BAA-6FB5-4319-98ED-63364F299559}">
      <dgm:prSet custT="1"/>
      <dgm:spPr/>
      <dgm:t>
        <a:bodyPr/>
        <a:lstStyle/>
        <a:p>
          <a:r>
            <a:rPr lang="en-US" sz="2400" dirty="0"/>
            <a:t>What can be done to lessen the impact of an </a:t>
          </a:r>
          <a:r>
            <a:rPr lang="en-US" sz="2400" i="1" dirty="0"/>
            <a:t>ad hoc </a:t>
          </a:r>
          <a:r>
            <a:rPr lang="en-US" sz="2400" dirty="0"/>
            <a:t>workload?</a:t>
          </a:r>
        </a:p>
      </dgm:t>
    </dgm:pt>
    <dgm:pt modelId="{3BDC5BA6-C401-413B-A0B5-B2C1795B8BF0}" type="parTrans" cxnId="{B7E02D0B-BFE7-4E8F-9147-8CE2A0F40E38}">
      <dgm:prSet/>
      <dgm:spPr/>
      <dgm:t>
        <a:bodyPr/>
        <a:lstStyle/>
        <a:p>
          <a:endParaRPr lang="en-US"/>
        </a:p>
      </dgm:t>
    </dgm:pt>
    <dgm:pt modelId="{9E517E35-548C-4FDC-9251-0C9FE45D5208}" type="sibTrans" cxnId="{B7E02D0B-BFE7-4E8F-9147-8CE2A0F40E38}">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D5774165-7248-4210-ABDB-B3EBDE700FEB}" type="pres">
      <dgm:prSet presAssocID="{72607BAA-6FB5-4319-98ED-63364F299559}" presName="parentText" presStyleLbl="node1" presStyleIdx="4" presStyleCnt="6">
        <dgm:presLayoutVars>
          <dgm:chMax val="0"/>
          <dgm:bulletEnabled val="1"/>
        </dgm:presLayoutVars>
      </dgm:prSet>
      <dgm:spPr/>
    </dgm:pt>
    <dgm:pt modelId="{3166E4B6-8FE6-45C8-ADBE-8B61C0C8A1B1}" type="pres">
      <dgm:prSet presAssocID="{9E517E35-548C-4FDC-9251-0C9FE45D5208}" presName="spacer" presStyleCnt="0"/>
      <dgm:spPr/>
    </dgm:pt>
    <dgm:pt modelId="{196D8D5C-AF3C-4B3F-BC76-432EBE3C6399}" type="pres">
      <dgm:prSet presAssocID="{F8131A31-16A9-4040-8773-13EAB223AACD}"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B7E02D0B-BFE7-4E8F-9147-8CE2A0F40E38}" srcId="{15A7774C-B622-4F48-8F7B-AF1AAB74E997}" destId="{72607BAA-6FB5-4319-98ED-63364F299559}" srcOrd="4" destOrd="0" parTransId="{3BDC5BA6-C401-413B-A0B5-B2C1795B8BF0}" sibTransId="{9E517E35-548C-4FDC-9251-0C9FE45D5208}"/>
    <dgm:cxn modelId="{61B9891E-F9D4-4D0B-B764-7A78A5588301}" srcId="{15A7774C-B622-4F48-8F7B-AF1AAB74E997}" destId="{F8131A31-16A9-4040-8773-13EAB223AACD}" srcOrd="5"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FB75B666-FDD4-40D3-B702-7860633045B8}" type="presOf" srcId="{72607BAA-6FB5-4319-98ED-63364F299559}" destId="{D5774165-7248-4210-ABDB-B3EBDE700FEB}"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6D783DD5-3075-4E90-8D44-05BE385F10F6}" type="presParOf" srcId="{97400BD5-14CE-4761-8A6A-64BC46D23158}" destId="{D5774165-7248-4210-ABDB-B3EBDE700FEB}" srcOrd="8" destOrd="0" presId="urn:microsoft.com/office/officeart/2005/8/layout/vList2"/>
    <dgm:cxn modelId="{B2E849B3-BF56-4A72-938D-1510CDF3611A}" type="presParOf" srcId="{97400BD5-14CE-4761-8A6A-64BC46D23158}" destId="{3166E4B6-8FE6-45C8-ADBE-8B61C0C8A1B1}" srcOrd="9" destOrd="0" presId="urn:microsoft.com/office/officeart/2005/8/layout/vList2"/>
    <dgm:cxn modelId="{54DBC56F-D6DE-42C8-9459-B589A2697E6A}" type="presParOf" srcId="{97400BD5-14CE-4761-8A6A-64BC46D23158}" destId="{196D8D5C-AF3C-4B3F-BC76-432EBE3C63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950D69A-B4C4-4450-BCFC-84B629AA5A1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C4B7335-B467-4918-B668-3524E374C463}">
      <dgm:prSet/>
      <dgm:spPr/>
      <dgm:t>
        <a:bodyPr/>
        <a:lstStyle/>
        <a:p>
          <a:r>
            <a:rPr lang="en-US" baseline="0"/>
            <a:t>Query Store is set at the database level</a:t>
          </a:r>
          <a:endParaRPr lang="en-US"/>
        </a:p>
      </dgm:t>
    </dgm:pt>
    <dgm:pt modelId="{C36DEB12-EA22-45C4-9E1C-1DACA284DEF0}" type="parTrans" cxnId="{1E7FA22A-45B1-4973-A946-3071E39D5BB5}">
      <dgm:prSet/>
      <dgm:spPr/>
      <dgm:t>
        <a:bodyPr/>
        <a:lstStyle/>
        <a:p>
          <a:endParaRPr lang="en-US"/>
        </a:p>
      </dgm:t>
    </dgm:pt>
    <dgm:pt modelId="{B130EE0F-BA0B-4A94-9F91-B9614EBC16D2}" type="sibTrans" cxnId="{1E7FA22A-45B1-4973-A946-3071E39D5BB5}">
      <dgm:prSet/>
      <dgm:spPr/>
      <dgm:t>
        <a:bodyPr/>
        <a:lstStyle/>
        <a:p>
          <a:endParaRPr lang="en-US"/>
        </a:p>
      </dgm:t>
    </dgm:pt>
    <dgm:pt modelId="{6ADB4DF6-ABB6-418E-B184-DFA82A0FA5D7}">
      <dgm:prSet/>
      <dgm:spPr/>
      <dgm:t>
        <a:bodyPr/>
        <a:lstStyle/>
        <a:p>
          <a:r>
            <a:rPr lang="en-US" baseline="0"/>
            <a:t>Cannot be used for Master or TempDB system databases but can be enabled for the Model and MSDB system databases. </a:t>
          </a:r>
          <a:endParaRPr lang="en-US"/>
        </a:p>
      </dgm:t>
    </dgm:pt>
    <dgm:pt modelId="{D32006BC-5049-47C9-872B-BC6264BC4320}" type="parTrans" cxnId="{B2C5F22A-1154-4396-B85D-6D2890494171}">
      <dgm:prSet/>
      <dgm:spPr/>
      <dgm:t>
        <a:bodyPr/>
        <a:lstStyle/>
        <a:p>
          <a:endParaRPr lang="en-US"/>
        </a:p>
      </dgm:t>
    </dgm:pt>
    <dgm:pt modelId="{896CC959-BCFF-43D2-BF06-6EE1B9338ECD}" type="sibTrans" cxnId="{B2C5F22A-1154-4396-B85D-6D2890494171}">
      <dgm:prSet/>
      <dgm:spPr/>
      <dgm:t>
        <a:bodyPr/>
        <a:lstStyle/>
        <a:p>
          <a:endParaRPr lang="en-US"/>
        </a:p>
      </dgm:t>
    </dgm:pt>
    <dgm:pt modelId="{C3DF81AB-B1E7-4911-A96B-89BDA8D12FCD}">
      <dgm:prSet/>
      <dgm:spPr/>
      <dgm:t>
        <a:bodyPr/>
        <a:lstStyle/>
        <a:p>
          <a:r>
            <a:rPr lang="en-US" baseline="0"/>
            <a:t>The user database stores the data in internal tables that can be accessed by using built-in Query Store views.</a:t>
          </a:r>
          <a:endParaRPr lang="en-US"/>
        </a:p>
      </dgm:t>
    </dgm:pt>
    <dgm:pt modelId="{FD3BBE37-302D-4020-A4A6-24953DF5FF98}" type="parTrans" cxnId="{D2FBCE22-DDB0-4909-9DD0-4024360EAD47}">
      <dgm:prSet/>
      <dgm:spPr/>
      <dgm:t>
        <a:bodyPr/>
        <a:lstStyle/>
        <a:p>
          <a:endParaRPr lang="en-US"/>
        </a:p>
      </dgm:t>
    </dgm:pt>
    <dgm:pt modelId="{561C3878-050B-4EDB-B23C-AFBB31A7F42F}" type="sibTrans" cxnId="{D2FBCE22-DDB0-4909-9DD0-4024360EAD47}">
      <dgm:prSet/>
      <dgm:spPr/>
      <dgm:t>
        <a:bodyPr/>
        <a:lstStyle/>
        <a:p>
          <a:endParaRPr lang="en-US"/>
        </a:p>
      </dgm:t>
    </dgm:pt>
    <dgm:pt modelId="{674276A8-5429-479B-8CEE-FEF0863C4011}">
      <dgm:prSet/>
      <dgm:spPr/>
      <dgm:t>
        <a:bodyPr/>
        <a:lstStyle/>
        <a:p>
          <a:r>
            <a:rPr lang="en-GB" baseline="0"/>
            <a:t>SQL Server retains this data until the space allocated to Query Store is full or manually purged.</a:t>
          </a:r>
          <a:endParaRPr lang="en-US"/>
        </a:p>
      </dgm:t>
    </dgm:pt>
    <dgm:pt modelId="{FD135FB4-BC70-4D2F-ADDB-ECE1A9F1E2BD}" type="parTrans" cxnId="{BBC539D5-F1C8-48C6-B2B9-5DB6657BE048}">
      <dgm:prSet/>
      <dgm:spPr/>
      <dgm:t>
        <a:bodyPr/>
        <a:lstStyle/>
        <a:p>
          <a:endParaRPr lang="en-US"/>
        </a:p>
      </dgm:t>
    </dgm:pt>
    <dgm:pt modelId="{7E5869E8-F9B4-45D7-8A89-C2888CC9C83A}" type="sibTrans" cxnId="{BBC539D5-F1C8-48C6-B2B9-5DB6657BE048}">
      <dgm:prSet/>
      <dgm:spPr/>
      <dgm:t>
        <a:bodyPr/>
        <a:lstStyle/>
        <a:p>
          <a:endParaRPr lang="en-US"/>
        </a:p>
      </dgm:t>
    </dgm:pt>
    <dgm:pt modelId="{963F6DFE-6996-487C-8994-4DDCF160D8DA}" type="pres">
      <dgm:prSet presAssocID="{C950D69A-B4C4-4450-BCFC-84B629AA5A19}" presName="linear" presStyleCnt="0">
        <dgm:presLayoutVars>
          <dgm:animLvl val="lvl"/>
          <dgm:resizeHandles val="exact"/>
        </dgm:presLayoutVars>
      </dgm:prSet>
      <dgm:spPr/>
    </dgm:pt>
    <dgm:pt modelId="{6C3C3109-A4B9-4C66-9825-7FC920D24281}" type="pres">
      <dgm:prSet presAssocID="{2C4B7335-B467-4918-B668-3524E374C463}" presName="parentText" presStyleLbl="node1" presStyleIdx="0" presStyleCnt="4">
        <dgm:presLayoutVars>
          <dgm:chMax val="0"/>
          <dgm:bulletEnabled val="1"/>
        </dgm:presLayoutVars>
      </dgm:prSet>
      <dgm:spPr/>
    </dgm:pt>
    <dgm:pt modelId="{16C69748-D113-4CEC-BB7E-5FC5DA593B12}" type="pres">
      <dgm:prSet presAssocID="{B130EE0F-BA0B-4A94-9F91-B9614EBC16D2}" presName="spacer" presStyleCnt="0"/>
      <dgm:spPr/>
    </dgm:pt>
    <dgm:pt modelId="{940AAA97-0AD4-43AE-8A9E-D67C5192BF98}" type="pres">
      <dgm:prSet presAssocID="{6ADB4DF6-ABB6-418E-B184-DFA82A0FA5D7}" presName="parentText" presStyleLbl="node1" presStyleIdx="1" presStyleCnt="4">
        <dgm:presLayoutVars>
          <dgm:chMax val="0"/>
          <dgm:bulletEnabled val="1"/>
        </dgm:presLayoutVars>
      </dgm:prSet>
      <dgm:spPr/>
    </dgm:pt>
    <dgm:pt modelId="{5A51948E-30D8-4094-8A73-8B96D142FBC9}" type="pres">
      <dgm:prSet presAssocID="{896CC959-BCFF-43D2-BF06-6EE1B9338ECD}" presName="spacer" presStyleCnt="0"/>
      <dgm:spPr/>
    </dgm:pt>
    <dgm:pt modelId="{B405DF18-C403-4EF0-AEB4-ADB4779EBB5A}" type="pres">
      <dgm:prSet presAssocID="{C3DF81AB-B1E7-4911-A96B-89BDA8D12FCD}" presName="parentText" presStyleLbl="node1" presStyleIdx="2" presStyleCnt="4">
        <dgm:presLayoutVars>
          <dgm:chMax val="0"/>
          <dgm:bulletEnabled val="1"/>
        </dgm:presLayoutVars>
      </dgm:prSet>
      <dgm:spPr/>
    </dgm:pt>
    <dgm:pt modelId="{93E08F4F-88C4-4546-9F28-41A70D945209}" type="pres">
      <dgm:prSet presAssocID="{561C3878-050B-4EDB-B23C-AFBB31A7F42F}" presName="spacer" presStyleCnt="0"/>
      <dgm:spPr/>
    </dgm:pt>
    <dgm:pt modelId="{769C1E20-379B-47E6-908D-ECB246999F97}" type="pres">
      <dgm:prSet presAssocID="{674276A8-5429-479B-8CEE-FEF0863C4011}" presName="parentText" presStyleLbl="node1" presStyleIdx="3" presStyleCnt="4">
        <dgm:presLayoutVars>
          <dgm:chMax val="0"/>
          <dgm:bulletEnabled val="1"/>
        </dgm:presLayoutVars>
      </dgm:prSet>
      <dgm:spPr/>
    </dgm:pt>
  </dgm:ptLst>
  <dgm:cxnLst>
    <dgm:cxn modelId="{D2FBCE22-DDB0-4909-9DD0-4024360EAD47}" srcId="{C950D69A-B4C4-4450-BCFC-84B629AA5A19}" destId="{C3DF81AB-B1E7-4911-A96B-89BDA8D12FCD}" srcOrd="2" destOrd="0" parTransId="{FD3BBE37-302D-4020-A4A6-24953DF5FF98}" sibTransId="{561C3878-050B-4EDB-B23C-AFBB31A7F42F}"/>
    <dgm:cxn modelId="{1E7FA22A-45B1-4973-A946-3071E39D5BB5}" srcId="{C950D69A-B4C4-4450-BCFC-84B629AA5A19}" destId="{2C4B7335-B467-4918-B668-3524E374C463}" srcOrd="0" destOrd="0" parTransId="{C36DEB12-EA22-45C4-9E1C-1DACA284DEF0}" sibTransId="{B130EE0F-BA0B-4A94-9F91-B9614EBC16D2}"/>
    <dgm:cxn modelId="{B2C5F22A-1154-4396-B85D-6D2890494171}" srcId="{C950D69A-B4C4-4450-BCFC-84B629AA5A19}" destId="{6ADB4DF6-ABB6-418E-B184-DFA82A0FA5D7}" srcOrd="1" destOrd="0" parTransId="{D32006BC-5049-47C9-872B-BC6264BC4320}" sibTransId="{896CC959-BCFF-43D2-BF06-6EE1B9338ECD}"/>
    <dgm:cxn modelId="{2ED1FF41-6F69-4352-A02E-9D9F9AD1A42E}" type="presOf" srcId="{C950D69A-B4C4-4450-BCFC-84B629AA5A19}" destId="{963F6DFE-6996-487C-8994-4DDCF160D8DA}" srcOrd="0" destOrd="0" presId="urn:microsoft.com/office/officeart/2005/8/layout/vList2"/>
    <dgm:cxn modelId="{5F70ACA8-D755-4C59-970B-9DF340BDBE16}" type="presOf" srcId="{C3DF81AB-B1E7-4911-A96B-89BDA8D12FCD}" destId="{B405DF18-C403-4EF0-AEB4-ADB4779EBB5A}" srcOrd="0" destOrd="0" presId="urn:microsoft.com/office/officeart/2005/8/layout/vList2"/>
    <dgm:cxn modelId="{9D55BDA9-9538-41D1-A672-6CDD820F0E15}" type="presOf" srcId="{2C4B7335-B467-4918-B668-3524E374C463}" destId="{6C3C3109-A4B9-4C66-9825-7FC920D24281}" srcOrd="0" destOrd="0" presId="urn:microsoft.com/office/officeart/2005/8/layout/vList2"/>
    <dgm:cxn modelId="{7E3D95B1-026C-444D-92AA-13FF74A40027}" type="presOf" srcId="{6ADB4DF6-ABB6-418E-B184-DFA82A0FA5D7}" destId="{940AAA97-0AD4-43AE-8A9E-D67C5192BF98}" srcOrd="0" destOrd="0" presId="urn:microsoft.com/office/officeart/2005/8/layout/vList2"/>
    <dgm:cxn modelId="{BBC539D5-F1C8-48C6-B2B9-5DB6657BE048}" srcId="{C950D69A-B4C4-4450-BCFC-84B629AA5A19}" destId="{674276A8-5429-479B-8CEE-FEF0863C4011}" srcOrd="3" destOrd="0" parTransId="{FD135FB4-BC70-4D2F-ADDB-ECE1A9F1E2BD}" sibTransId="{7E5869E8-F9B4-45D7-8A89-C2888CC9C83A}"/>
    <dgm:cxn modelId="{AFEB12D7-4285-4C60-A5AC-3659C9B974A6}" type="presOf" srcId="{674276A8-5429-479B-8CEE-FEF0863C4011}" destId="{769C1E20-379B-47E6-908D-ECB246999F97}" srcOrd="0" destOrd="0" presId="urn:microsoft.com/office/officeart/2005/8/layout/vList2"/>
    <dgm:cxn modelId="{DBD98EBF-4DA9-40AF-ABF4-9019FA86069D}" type="presParOf" srcId="{963F6DFE-6996-487C-8994-4DDCF160D8DA}" destId="{6C3C3109-A4B9-4C66-9825-7FC920D24281}" srcOrd="0" destOrd="0" presId="urn:microsoft.com/office/officeart/2005/8/layout/vList2"/>
    <dgm:cxn modelId="{9D7B2774-F04C-4C3B-85F6-534D4AB53C5D}" type="presParOf" srcId="{963F6DFE-6996-487C-8994-4DDCF160D8DA}" destId="{16C69748-D113-4CEC-BB7E-5FC5DA593B12}" srcOrd="1" destOrd="0" presId="urn:microsoft.com/office/officeart/2005/8/layout/vList2"/>
    <dgm:cxn modelId="{81AE000C-B461-4A95-A457-829DDA6C7129}" type="presParOf" srcId="{963F6DFE-6996-487C-8994-4DDCF160D8DA}" destId="{940AAA97-0AD4-43AE-8A9E-D67C5192BF98}" srcOrd="2" destOrd="0" presId="urn:microsoft.com/office/officeart/2005/8/layout/vList2"/>
    <dgm:cxn modelId="{40B08186-04AF-43F5-BAD1-4E6059722582}" type="presParOf" srcId="{963F6DFE-6996-487C-8994-4DDCF160D8DA}" destId="{5A51948E-30D8-4094-8A73-8B96D142FBC9}" srcOrd="3" destOrd="0" presId="urn:microsoft.com/office/officeart/2005/8/layout/vList2"/>
    <dgm:cxn modelId="{C4ED84BD-230C-426D-8451-B02F993255D8}" type="presParOf" srcId="{963F6DFE-6996-487C-8994-4DDCF160D8DA}" destId="{B405DF18-C403-4EF0-AEB4-ADB4779EBB5A}" srcOrd="4" destOrd="0" presId="urn:microsoft.com/office/officeart/2005/8/layout/vList2"/>
    <dgm:cxn modelId="{32A3492E-9D92-4553-A0B7-D91F55B1CFD8}" type="presParOf" srcId="{963F6DFE-6996-487C-8994-4DDCF160D8DA}" destId="{93E08F4F-88C4-4546-9F28-41A70D945209}" srcOrd="5" destOrd="0" presId="urn:microsoft.com/office/officeart/2005/8/layout/vList2"/>
    <dgm:cxn modelId="{071F5622-16F0-4D7D-9B0B-09FEAC929FA6}" type="presParOf" srcId="{963F6DFE-6996-487C-8994-4DDCF160D8DA}" destId="{769C1E20-379B-47E6-908D-ECB246999F9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FBE75E8-746F-499D-A86E-B2D332C6E2C7}" type="doc">
      <dgm:prSet loTypeId="urn:microsoft.com/office/officeart/2005/8/layout/hList1" loCatId="list" qsTypeId="urn:microsoft.com/office/officeart/2005/8/quickstyle/simple5" qsCatId="simple" csTypeId="urn:microsoft.com/office/officeart/2005/8/colors/accent1_2" csCatId="accent1" phldr="1"/>
      <dgm:spPr/>
      <dgm:t>
        <a:bodyPr/>
        <a:lstStyle/>
        <a:p>
          <a:endParaRPr lang="en-US"/>
        </a:p>
      </dgm:t>
    </dgm:pt>
    <dgm:pt modelId="{B8D43C61-444E-4D46-8203-C4641DF7F65C}">
      <dgm:prSet custT="1"/>
      <dgm:spPr/>
      <dgm:t>
        <a:bodyPr/>
        <a:lstStyle/>
        <a:p>
          <a:r>
            <a:rPr lang="en-US" sz="2400" baseline="0" dirty="0"/>
            <a:t>Before Query Store</a:t>
          </a:r>
          <a:endParaRPr lang="en-US" sz="2400" dirty="0"/>
        </a:p>
      </dgm:t>
    </dgm:pt>
    <dgm:pt modelId="{9053780D-0BBD-4C41-B6E0-BD9E2762F44F}" type="parTrans" cxnId="{27C58C86-741F-454E-963A-A1ED19AAAC79}">
      <dgm:prSet/>
      <dgm:spPr/>
      <dgm:t>
        <a:bodyPr/>
        <a:lstStyle/>
        <a:p>
          <a:endParaRPr lang="en-US"/>
        </a:p>
      </dgm:t>
    </dgm:pt>
    <dgm:pt modelId="{9E5884B5-0D7E-42AC-8646-091133669794}" type="sibTrans" cxnId="{27C58C86-741F-454E-963A-A1ED19AAAC79}">
      <dgm:prSet/>
      <dgm:spPr/>
      <dgm:t>
        <a:bodyPr/>
        <a:lstStyle/>
        <a:p>
          <a:endParaRPr lang="en-US"/>
        </a:p>
      </dgm:t>
    </dgm:pt>
    <dgm:pt modelId="{BB77CBAA-BAC2-4F25-9252-CDF9FE2D2440}">
      <dgm:prSet custT="1"/>
      <dgm:spPr/>
      <dgm:t>
        <a:bodyPr/>
        <a:lstStyle/>
        <a:p>
          <a:r>
            <a:rPr lang="en-US" sz="2400" dirty="0"/>
            <a:t>Requires manual proactive monitoring to identify execution plan problems.</a:t>
          </a:r>
        </a:p>
      </dgm:t>
    </dgm:pt>
    <dgm:pt modelId="{5D06DB20-2870-432B-B8D7-FBB3329BC4E5}" type="parTrans" cxnId="{39198460-6832-42D5-84E3-D75D467DEF1C}">
      <dgm:prSet/>
      <dgm:spPr/>
      <dgm:t>
        <a:bodyPr/>
        <a:lstStyle/>
        <a:p>
          <a:endParaRPr lang="en-US"/>
        </a:p>
      </dgm:t>
    </dgm:pt>
    <dgm:pt modelId="{CD69DFF8-6A86-465E-A914-C97718DB38AC}" type="sibTrans" cxnId="{39198460-6832-42D5-84E3-D75D467DEF1C}">
      <dgm:prSet/>
      <dgm:spPr/>
      <dgm:t>
        <a:bodyPr/>
        <a:lstStyle/>
        <a:p>
          <a:endParaRPr lang="en-US"/>
        </a:p>
      </dgm:t>
    </dgm:pt>
    <dgm:pt modelId="{537A3CB7-E5E1-4790-985B-DA13D7D2AEA1}">
      <dgm:prSet custT="1"/>
      <dgm:spPr/>
      <dgm:t>
        <a:bodyPr/>
        <a:lstStyle/>
        <a:p>
          <a:r>
            <a:rPr lang="en-US" sz="2400" baseline="0" dirty="0"/>
            <a:t>Only the latest plan was stored in the procedure cache</a:t>
          </a:r>
          <a:endParaRPr lang="en-US" sz="2400" dirty="0"/>
        </a:p>
      </dgm:t>
    </dgm:pt>
    <dgm:pt modelId="{B4341261-0A08-4808-B537-46D63F9B47AC}" type="parTrans" cxnId="{5B122083-896C-4BAB-ABCC-36E82BD875C8}">
      <dgm:prSet/>
      <dgm:spPr/>
      <dgm:t>
        <a:bodyPr/>
        <a:lstStyle/>
        <a:p>
          <a:endParaRPr lang="en-US"/>
        </a:p>
      </dgm:t>
    </dgm:pt>
    <dgm:pt modelId="{B8058058-DDFC-4569-B150-59146E9EA175}" type="sibTrans" cxnId="{5B122083-896C-4BAB-ABCC-36E82BD875C8}">
      <dgm:prSet/>
      <dgm:spPr/>
      <dgm:t>
        <a:bodyPr/>
        <a:lstStyle/>
        <a:p>
          <a:endParaRPr lang="en-US"/>
        </a:p>
      </dgm:t>
    </dgm:pt>
    <dgm:pt modelId="{10D8AC69-0B74-4EB4-8DFB-8B94B153163A}">
      <dgm:prSet custT="1"/>
      <dgm:spPr/>
      <dgm:t>
        <a:bodyPr/>
        <a:lstStyle/>
        <a:p>
          <a:r>
            <a:rPr lang="en-US" sz="2400" baseline="0" dirty="0"/>
            <a:t>Restart caused data to be lost</a:t>
          </a:r>
          <a:endParaRPr lang="en-US" sz="2400" dirty="0"/>
        </a:p>
      </dgm:t>
    </dgm:pt>
    <dgm:pt modelId="{1865415B-C9CE-4585-A07D-4BE9EF265185}" type="parTrans" cxnId="{81093CBB-65DA-429F-B3A8-E37C907F45F8}">
      <dgm:prSet/>
      <dgm:spPr/>
      <dgm:t>
        <a:bodyPr/>
        <a:lstStyle/>
        <a:p>
          <a:endParaRPr lang="en-US"/>
        </a:p>
      </dgm:t>
    </dgm:pt>
    <dgm:pt modelId="{8C46AFC3-D3B0-4691-9EA5-ACEEAF03140C}" type="sibTrans" cxnId="{81093CBB-65DA-429F-B3A8-E37C907F45F8}">
      <dgm:prSet/>
      <dgm:spPr/>
      <dgm:t>
        <a:bodyPr/>
        <a:lstStyle/>
        <a:p>
          <a:endParaRPr lang="en-US"/>
        </a:p>
      </dgm:t>
    </dgm:pt>
    <dgm:pt modelId="{D739869A-0F1D-4AD3-9A40-3EA24E038514}">
      <dgm:prSet custT="1"/>
      <dgm:spPr/>
      <dgm:t>
        <a:bodyPr/>
        <a:lstStyle/>
        <a:p>
          <a:r>
            <a:rPr lang="en-US" sz="2400" baseline="0" dirty="0"/>
            <a:t>No history or aggregated gathering of data available.</a:t>
          </a:r>
          <a:endParaRPr lang="en-US" sz="2400" dirty="0"/>
        </a:p>
      </dgm:t>
    </dgm:pt>
    <dgm:pt modelId="{D0B48814-2511-45A1-A196-56B641164435}" type="parTrans" cxnId="{AA4D8AC2-BCFF-4C39-AD7B-D2353DFA0CD5}">
      <dgm:prSet/>
      <dgm:spPr/>
      <dgm:t>
        <a:bodyPr/>
        <a:lstStyle/>
        <a:p>
          <a:endParaRPr lang="en-US"/>
        </a:p>
      </dgm:t>
    </dgm:pt>
    <dgm:pt modelId="{59728870-D2B8-4C95-ABF8-C374F6680319}" type="sibTrans" cxnId="{AA4D8AC2-BCFF-4C39-AD7B-D2353DFA0CD5}">
      <dgm:prSet/>
      <dgm:spPr/>
      <dgm:t>
        <a:bodyPr/>
        <a:lstStyle/>
        <a:p>
          <a:endParaRPr lang="en-US"/>
        </a:p>
      </dgm:t>
    </dgm:pt>
    <dgm:pt modelId="{E38E5E12-F27D-4C86-BDD7-9EE68F87C37A}">
      <dgm:prSet custT="1"/>
      <dgm:spPr/>
      <dgm:t>
        <a:bodyPr/>
        <a:lstStyle/>
        <a:p>
          <a:r>
            <a:rPr lang="en-US" sz="2400" dirty="0"/>
            <a:t>Frequent recompiles of procedures or use of DBCC FREEPROCACHE</a:t>
          </a:r>
        </a:p>
      </dgm:t>
    </dgm:pt>
    <dgm:pt modelId="{688A2AE3-BD93-4F55-9ABE-A413E00DAE2C}" type="parTrans" cxnId="{221A323A-4A57-4C81-9669-85E17AADA53C}">
      <dgm:prSet/>
      <dgm:spPr/>
      <dgm:t>
        <a:bodyPr/>
        <a:lstStyle/>
        <a:p>
          <a:endParaRPr lang="en-US"/>
        </a:p>
      </dgm:t>
    </dgm:pt>
    <dgm:pt modelId="{150DD33F-97FF-4CA0-8BBE-AB859D3060FE}" type="sibTrans" cxnId="{221A323A-4A57-4C81-9669-85E17AADA53C}">
      <dgm:prSet/>
      <dgm:spPr/>
      <dgm:t>
        <a:bodyPr/>
        <a:lstStyle/>
        <a:p>
          <a:endParaRPr lang="en-US"/>
        </a:p>
      </dgm:t>
    </dgm:pt>
    <dgm:pt modelId="{D9B6BAAC-0B63-4D00-9071-3049825CE4DF}">
      <dgm:prSet custT="1"/>
      <dgm:spPr/>
      <dgm:t>
        <a:bodyPr/>
        <a:lstStyle/>
        <a:p>
          <a:r>
            <a:rPr lang="en-US" sz="2400"/>
            <a:t>It works across server restarts, upgrades, and query recompilation</a:t>
          </a:r>
          <a:endParaRPr lang="en-US" sz="2400" dirty="0"/>
        </a:p>
      </dgm:t>
    </dgm:pt>
    <dgm:pt modelId="{B51AB559-A448-4235-8405-E31B278559D5}" type="sibTrans" cxnId="{B6C17115-6362-4E74-A704-1E27E61644AD}">
      <dgm:prSet/>
      <dgm:spPr/>
      <dgm:t>
        <a:bodyPr/>
        <a:lstStyle/>
        <a:p>
          <a:endParaRPr lang="en-US"/>
        </a:p>
      </dgm:t>
    </dgm:pt>
    <dgm:pt modelId="{35DC8202-892A-4316-8A4F-9F2711987889}" type="parTrans" cxnId="{B6C17115-6362-4E74-A704-1E27E61644AD}">
      <dgm:prSet/>
      <dgm:spPr/>
      <dgm:t>
        <a:bodyPr/>
        <a:lstStyle/>
        <a:p>
          <a:endParaRPr lang="en-US"/>
        </a:p>
      </dgm:t>
    </dgm:pt>
    <dgm:pt modelId="{EA33F7BB-9DB6-4895-AED3-2EFF50EA879B}">
      <dgm:prSet custT="1"/>
      <dgm:spPr/>
      <dgm:t>
        <a:bodyPr/>
        <a:lstStyle/>
        <a:p>
          <a:r>
            <a:rPr lang="en-US" sz="2400" dirty="0"/>
            <a:t>With Query Store</a:t>
          </a:r>
        </a:p>
      </dgm:t>
    </dgm:pt>
    <dgm:pt modelId="{A0BB21BD-0995-4709-9B99-967C1D425F2F}" type="sibTrans" cxnId="{1CCADBAF-99F9-4C98-B4F6-67E304F972FF}">
      <dgm:prSet/>
      <dgm:spPr/>
      <dgm:t>
        <a:bodyPr/>
        <a:lstStyle/>
        <a:p>
          <a:endParaRPr lang="en-US"/>
        </a:p>
      </dgm:t>
    </dgm:pt>
    <dgm:pt modelId="{CD4452B7-70A5-465C-9738-63EC902152CB}" type="parTrans" cxnId="{1CCADBAF-99F9-4C98-B4F6-67E304F972FF}">
      <dgm:prSet/>
      <dgm:spPr/>
      <dgm:t>
        <a:bodyPr/>
        <a:lstStyle/>
        <a:p>
          <a:endParaRPr lang="en-US"/>
        </a:p>
      </dgm:t>
    </dgm:pt>
    <dgm:pt modelId="{3B888F1F-4DCE-4220-A5B6-263D63DD2740}">
      <dgm:prSet custT="1"/>
      <dgm:spPr/>
      <dgm:t>
        <a:bodyPr/>
        <a:lstStyle/>
        <a:p>
          <a:r>
            <a:rPr lang="en-US" sz="2400"/>
            <a:t>It stores the history of the execution plans for each query</a:t>
          </a:r>
          <a:endParaRPr lang="en-US" sz="2400" dirty="0"/>
        </a:p>
      </dgm:t>
    </dgm:pt>
    <dgm:pt modelId="{E4A1A934-0238-4612-8D9B-1A9F78035FAA}" type="sibTrans" cxnId="{00674137-93A4-4803-8F7B-34C9F7E48ACC}">
      <dgm:prSet/>
      <dgm:spPr/>
      <dgm:t>
        <a:bodyPr/>
        <a:lstStyle/>
        <a:p>
          <a:endParaRPr lang="en-US"/>
        </a:p>
      </dgm:t>
    </dgm:pt>
    <dgm:pt modelId="{3D7D4B14-6864-47F4-ACF8-11333CDC3AF5}" type="parTrans" cxnId="{00674137-93A4-4803-8F7B-34C9F7E48ACC}">
      <dgm:prSet/>
      <dgm:spPr/>
      <dgm:t>
        <a:bodyPr/>
        <a:lstStyle/>
        <a:p>
          <a:endParaRPr lang="en-US"/>
        </a:p>
      </dgm:t>
    </dgm:pt>
    <dgm:pt modelId="{956EF688-3D04-4307-B311-64B5417C5E66}">
      <dgm:prSet custT="1"/>
      <dgm:spPr/>
      <dgm:t>
        <a:bodyPr/>
        <a:lstStyle/>
        <a:p>
          <a:r>
            <a:rPr lang="en-US" sz="2400"/>
            <a:t>It establishes a performance baseline for each plan over time</a:t>
          </a:r>
          <a:endParaRPr lang="en-US" sz="2400" dirty="0"/>
        </a:p>
      </dgm:t>
    </dgm:pt>
    <dgm:pt modelId="{42E44964-0602-4B92-84EE-302AADEF124B}" type="sibTrans" cxnId="{4CB25709-3064-4090-8EEE-BE0CB23C933B}">
      <dgm:prSet/>
      <dgm:spPr/>
      <dgm:t>
        <a:bodyPr/>
        <a:lstStyle/>
        <a:p>
          <a:endParaRPr lang="en-US"/>
        </a:p>
      </dgm:t>
    </dgm:pt>
    <dgm:pt modelId="{544A0746-912A-492F-8D20-049272139CDC}" type="parTrans" cxnId="{4CB25709-3064-4090-8EEE-BE0CB23C933B}">
      <dgm:prSet/>
      <dgm:spPr/>
      <dgm:t>
        <a:bodyPr/>
        <a:lstStyle/>
        <a:p>
          <a:endParaRPr lang="en-US"/>
        </a:p>
      </dgm:t>
    </dgm:pt>
    <dgm:pt modelId="{B8252222-156E-4DA8-A1E7-2B0B5D067240}">
      <dgm:prSet custT="1"/>
      <dgm:spPr/>
      <dgm:t>
        <a:bodyPr/>
        <a:lstStyle/>
        <a:p>
          <a:r>
            <a:rPr lang="en-US" sz="2400" dirty="0"/>
            <a:t>It identifies queries that may have regressed</a:t>
          </a:r>
        </a:p>
      </dgm:t>
    </dgm:pt>
    <dgm:pt modelId="{DA368932-EE90-407B-8A5A-4949960287CE}" type="sibTrans" cxnId="{5E5D67FD-51B2-4D15-852D-31935C689E4E}">
      <dgm:prSet/>
      <dgm:spPr/>
      <dgm:t>
        <a:bodyPr/>
        <a:lstStyle/>
        <a:p>
          <a:endParaRPr lang="en-US"/>
        </a:p>
      </dgm:t>
    </dgm:pt>
    <dgm:pt modelId="{527083CD-5341-431A-B979-78A2DDE458B4}" type="parTrans" cxnId="{5E5D67FD-51B2-4D15-852D-31935C689E4E}">
      <dgm:prSet/>
      <dgm:spPr/>
      <dgm:t>
        <a:bodyPr/>
        <a:lstStyle/>
        <a:p>
          <a:endParaRPr lang="en-US"/>
        </a:p>
      </dgm:t>
    </dgm:pt>
    <dgm:pt modelId="{9B016B37-9B94-428F-91BD-F512BB4D13E3}">
      <dgm:prSet custT="1"/>
      <dgm:spPr/>
      <dgm:t>
        <a:bodyPr/>
        <a:lstStyle/>
        <a:p>
          <a:r>
            <a:rPr lang="en-US" sz="2400"/>
            <a:t>It is possible to force plans quickly and easily</a:t>
          </a:r>
          <a:endParaRPr lang="en-US" sz="2400" dirty="0"/>
        </a:p>
      </dgm:t>
    </dgm:pt>
    <dgm:pt modelId="{EEDA3721-B505-4AA8-BA26-4AB0EAE5A2E1}" type="sibTrans" cxnId="{948580F6-9A59-49B8-B134-E17B3457A00D}">
      <dgm:prSet/>
      <dgm:spPr/>
      <dgm:t>
        <a:bodyPr/>
        <a:lstStyle/>
        <a:p>
          <a:endParaRPr lang="en-US"/>
        </a:p>
      </dgm:t>
    </dgm:pt>
    <dgm:pt modelId="{95DC1BF7-C6F6-469F-B4B2-D733AD82E6C3}" type="parTrans" cxnId="{948580F6-9A59-49B8-B134-E17B3457A00D}">
      <dgm:prSet/>
      <dgm:spPr/>
      <dgm:t>
        <a:bodyPr/>
        <a:lstStyle/>
        <a:p>
          <a:endParaRPr lang="en-US"/>
        </a:p>
      </dgm:t>
    </dgm:pt>
    <dgm:pt modelId="{A4EA9A34-C325-4BE7-ABE4-06D8524565AB}" type="pres">
      <dgm:prSet presAssocID="{CFBE75E8-746F-499D-A86E-B2D332C6E2C7}" presName="Name0" presStyleCnt="0">
        <dgm:presLayoutVars>
          <dgm:dir/>
          <dgm:animLvl val="lvl"/>
          <dgm:resizeHandles val="exact"/>
        </dgm:presLayoutVars>
      </dgm:prSet>
      <dgm:spPr/>
    </dgm:pt>
    <dgm:pt modelId="{0C432329-A844-4222-B2CE-A62A50BB1907}" type="pres">
      <dgm:prSet presAssocID="{B8D43C61-444E-4D46-8203-C4641DF7F65C}" presName="composite" presStyleCnt="0"/>
      <dgm:spPr/>
    </dgm:pt>
    <dgm:pt modelId="{C779168E-09A7-4FC7-B2EB-4BF2B3280EEA}" type="pres">
      <dgm:prSet presAssocID="{B8D43C61-444E-4D46-8203-C4641DF7F65C}" presName="parTx" presStyleLbl="alignNode1" presStyleIdx="0" presStyleCnt="2">
        <dgm:presLayoutVars>
          <dgm:chMax val="0"/>
          <dgm:chPref val="0"/>
          <dgm:bulletEnabled val="1"/>
        </dgm:presLayoutVars>
      </dgm:prSet>
      <dgm:spPr/>
    </dgm:pt>
    <dgm:pt modelId="{AD82FA61-1850-4B59-B124-9E03954BAFF0}" type="pres">
      <dgm:prSet presAssocID="{B8D43C61-444E-4D46-8203-C4641DF7F65C}" presName="desTx" presStyleLbl="alignAccFollowNode1" presStyleIdx="0" presStyleCnt="2">
        <dgm:presLayoutVars>
          <dgm:bulletEnabled val="1"/>
        </dgm:presLayoutVars>
      </dgm:prSet>
      <dgm:spPr/>
    </dgm:pt>
    <dgm:pt modelId="{2F147288-9BCE-41AC-962C-58CDF06B9B26}" type="pres">
      <dgm:prSet presAssocID="{9E5884B5-0D7E-42AC-8646-091133669794}" presName="space" presStyleCnt="0"/>
      <dgm:spPr/>
    </dgm:pt>
    <dgm:pt modelId="{159F0336-7D69-4A08-981E-D8DB57B4C584}" type="pres">
      <dgm:prSet presAssocID="{EA33F7BB-9DB6-4895-AED3-2EFF50EA879B}" presName="composite" presStyleCnt="0"/>
      <dgm:spPr/>
    </dgm:pt>
    <dgm:pt modelId="{5B3159C4-B630-46CE-86BB-39F10831FF9C}" type="pres">
      <dgm:prSet presAssocID="{EA33F7BB-9DB6-4895-AED3-2EFF50EA879B}" presName="parTx" presStyleLbl="alignNode1" presStyleIdx="1" presStyleCnt="2">
        <dgm:presLayoutVars>
          <dgm:chMax val="0"/>
          <dgm:chPref val="0"/>
          <dgm:bulletEnabled val="1"/>
        </dgm:presLayoutVars>
      </dgm:prSet>
      <dgm:spPr/>
    </dgm:pt>
    <dgm:pt modelId="{821CDC50-C3A6-405C-AC50-7346C099707C}" type="pres">
      <dgm:prSet presAssocID="{EA33F7BB-9DB6-4895-AED3-2EFF50EA879B}" presName="desTx" presStyleLbl="alignAccFollowNode1" presStyleIdx="1" presStyleCnt="2">
        <dgm:presLayoutVars>
          <dgm:bulletEnabled val="1"/>
        </dgm:presLayoutVars>
      </dgm:prSet>
      <dgm:spPr/>
    </dgm:pt>
  </dgm:ptLst>
  <dgm:cxnLst>
    <dgm:cxn modelId="{4CB25709-3064-4090-8EEE-BE0CB23C933B}" srcId="{EA33F7BB-9DB6-4895-AED3-2EFF50EA879B}" destId="{956EF688-3D04-4307-B311-64B5417C5E66}" srcOrd="1" destOrd="0" parTransId="{544A0746-912A-492F-8D20-049272139CDC}" sibTransId="{42E44964-0602-4B92-84EE-302AADEF124B}"/>
    <dgm:cxn modelId="{37658213-B7E4-4F4F-9E07-423955BCFEAD}" type="presOf" srcId="{B8252222-156E-4DA8-A1E7-2B0B5D067240}" destId="{821CDC50-C3A6-405C-AC50-7346C099707C}" srcOrd="0" destOrd="2" presId="urn:microsoft.com/office/officeart/2005/8/layout/hList1"/>
    <dgm:cxn modelId="{40CE1714-8BA5-475A-AC96-890B99C317B5}" type="presOf" srcId="{3B888F1F-4DCE-4220-A5B6-263D63DD2740}" destId="{821CDC50-C3A6-405C-AC50-7346C099707C}" srcOrd="0" destOrd="0" presId="urn:microsoft.com/office/officeart/2005/8/layout/hList1"/>
    <dgm:cxn modelId="{B6C17115-6362-4E74-A704-1E27E61644AD}" srcId="{EA33F7BB-9DB6-4895-AED3-2EFF50EA879B}" destId="{D9B6BAAC-0B63-4D00-9071-3049825CE4DF}" srcOrd="4" destOrd="0" parTransId="{35DC8202-892A-4316-8A4F-9F2711987889}" sibTransId="{B51AB559-A448-4235-8405-E31B278559D5}"/>
    <dgm:cxn modelId="{37E69721-916D-4696-9B32-5D42D092DD15}" type="presOf" srcId="{CFBE75E8-746F-499D-A86E-B2D332C6E2C7}" destId="{A4EA9A34-C325-4BE7-ABE4-06D8524565AB}" srcOrd="0" destOrd="0" presId="urn:microsoft.com/office/officeart/2005/8/layout/hList1"/>
    <dgm:cxn modelId="{D9CBFA2B-D8F3-4F74-A7E7-2B148670610D}" type="presOf" srcId="{956EF688-3D04-4307-B311-64B5417C5E66}" destId="{821CDC50-C3A6-405C-AC50-7346C099707C}" srcOrd="0" destOrd="1" presId="urn:microsoft.com/office/officeart/2005/8/layout/hList1"/>
    <dgm:cxn modelId="{00674137-93A4-4803-8F7B-34C9F7E48ACC}" srcId="{EA33F7BB-9DB6-4895-AED3-2EFF50EA879B}" destId="{3B888F1F-4DCE-4220-A5B6-263D63DD2740}" srcOrd="0" destOrd="0" parTransId="{3D7D4B14-6864-47F4-ACF8-11333CDC3AF5}" sibTransId="{E4A1A934-0238-4612-8D9B-1A9F78035FAA}"/>
    <dgm:cxn modelId="{0E90B939-1FB4-4122-B976-C667BE46AE94}" type="presOf" srcId="{E38E5E12-F27D-4C86-BDD7-9EE68F87C37A}" destId="{AD82FA61-1850-4B59-B124-9E03954BAFF0}" srcOrd="0" destOrd="3" presId="urn:microsoft.com/office/officeart/2005/8/layout/hList1"/>
    <dgm:cxn modelId="{221A323A-4A57-4C81-9669-85E17AADA53C}" srcId="{B8D43C61-444E-4D46-8203-C4641DF7F65C}" destId="{E38E5E12-F27D-4C86-BDD7-9EE68F87C37A}" srcOrd="3" destOrd="0" parTransId="{688A2AE3-BD93-4F55-9ABE-A413E00DAE2C}" sibTransId="{150DD33F-97FF-4CA0-8BBE-AB859D3060FE}"/>
    <dgm:cxn modelId="{39198460-6832-42D5-84E3-D75D467DEF1C}" srcId="{B8D43C61-444E-4D46-8203-C4641DF7F65C}" destId="{BB77CBAA-BAC2-4F25-9252-CDF9FE2D2440}" srcOrd="0" destOrd="0" parTransId="{5D06DB20-2870-432B-B8D7-FBB3329BC4E5}" sibTransId="{CD69DFF8-6A86-465E-A914-C97718DB38AC}"/>
    <dgm:cxn modelId="{AB1B126B-228A-454C-AF08-B67534928D10}" type="presOf" srcId="{537A3CB7-E5E1-4790-985B-DA13D7D2AEA1}" destId="{AD82FA61-1850-4B59-B124-9E03954BAFF0}" srcOrd="0" destOrd="1" presId="urn:microsoft.com/office/officeart/2005/8/layout/hList1"/>
    <dgm:cxn modelId="{6039A350-5489-4141-A617-0A863EA2260F}" type="presOf" srcId="{9B016B37-9B94-428F-91BD-F512BB4D13E3}" destId="{821CDC50-C3A6-405C-AC50-7346C099707C}" srcOrd="0" destOrd="3" presId="urn:microsoft.com/office/officeart/2005/8/layout/hList1"/>
    <dgm:cxn modelId="{5B122083-896C-4BAB-ABCC-36E82BD875C8}" srcId="{B8D43C61-444E-4D46-8203-C4641DF7F65C}" destId="{537A3CB7-E5E1-4790-985B-DA13D7D2AEA1}" srcOrd="1" destOrd="0" parTransId="{B4341261-0A08-4808-B537-46D63F9B47AC}" sibTransId="{B8058058-DDFC-4569-B150-59146E9EA175}"/>
    <dgm:cxn modelId="{27C58C86-741F-454E-963A-A1ED19AAAC79}" srcId="{CFBE75E8-746F-499D-A86E-B2D332C6E2C7}" destId="{B8D43C61-444E-4D46-8203-C4641DF7F65C}" srcOrd="0" destOrd="0" parTransId="{9053780D-0BBD-4C41-B6E0-BD9E2762F44F}" sibTransId="{9E5884B5-0D7E-42AC-8646-091133669794}"/>
    <dgm:cxn modelId="{64DC3887-3121-45C5-A21D-B3F95BBD4FAA}" type="presOf" srcId="{D9B6BAAC-0B63-4D00-9071-3049825CE4DF}" destId="{821CDC50-C3A6-405C-AC50-7346C099707C}" srcOrd="0" destOrd="4" presId="urn:microsoft.com/office/officeart/2005/8/layout/hList1"/>
    <dgm:cxn modelId="{A2F85E8C-890F-401C-9577-51C5D88371F5}" type="presOf" srcId="{EA33F7BB-9DB6-4895-AED3-2EFF50EA879B}" destId="{5B3159C4-B630-46CE-86BB-39F10831FF9C}" srcOrd="0" destOrd="0" presId="urn:microsoft.com/office/officeart/2005/8/layout/hList1"/>
    <dgm:cxn modelId="{B22643A3-0B0C-485C-8E2F-256A7864AF26}" type="presOf" srcId="{BB77CBAA-BAC2-4F25-9252-CDF9FE2D2440}" destId="{AD82FA61-1850-4B59-B124-9E03954BAFF0}" srcOrd="0" destOrd="0" presId="urn:microsoft.com/office/officeart/2005/8/layout/hList1"/>
    <dgm:cxn modelId="{CEDB68AC-AC9C-4FEE-A74B-5D15A291304F}" type="presOf" srcId="{10D8AC69-0B74-4EB4-8DFB-8B94B153163A}" destId="{AD82FA61-1850-4B59-B124-9E03954BAFF0}" srcOrd="0" destOrd="2" presId="urn:microsoft.com/office/officeart/2005/8/layout/hList1"/>
    <dgm:cxn modelId="{1CCADBAF-99F9-4C98-B4F6-67E304F972FF}" srcId="{CFBE75E8-746F-499D-A86E-B2D332C6E2C7}" destId="{EA33F7BB-9DB6-4895-AED3-2EFF50EA879B}" srcOrd="1" destOrd="0" parTransId="{CD4452B7-70A5-465C-9738-63EC902152CB}" sibTransId="{A0BB21BD-0995-4709-9B99-967C1D425F2F}"/>
    <dgm:cxn modelId="{81093CBB-65DA-429F-B3A8-E37C907F45F8}" srcId="{B8D43C61-444E-4D46-8203-C4641DF7F65C}" destId="{10D8AC69-0B74-4EB4-8DFB-8B94B153163A}" srcOrd="2" destOrd="0" parTransId="{1865415B-C9CE-4585-A07D-4BE9EF265185}" sibTransId="{8C46AFC3-D3B0-4691-9EA5-ACEEAF03140C}"/>
    <dgm:cxn modelId="{AA4D8AC2-BCFF-4C39-AD7B-D2353DFA0CD5}" srcId="{B8D43C61-444E-4D46-8203-C4641DF7F65C}" destId="{D739869A-0F1D-4AD3-9A40-3EA24E038514}" srcOrd="4" destOrd="0" parTransId="{D0B48814-2511-45A1-A196-56B641164435}" sibTransId="{59728870-D2B8-4C95-ABF8-C374F6680319}"/>
    <dgm:cxn modelId="{9E12FFC2-4196-49A5-BCD2-43CD3BD3AF75}" type="presOf" srcId="{D739869A-0F1D-4AD3-9A40-3EA24E038514}" destId="{AD82FA61-1850-4B59-B124-9E03954BAFF0}" srcOrd="0" destOrd="4" presId="urn:microsoft.com/office/officeart/2005/8/layout/hList1"/>
    <dgm:cxn modelId="{4FBF38C8-349B-4C53-9BE5-6661B260CCA8}" type="presOf" srcId="{B8D43C61-444E-4D46-8203-C4641DF7F65C}" destId="{C779168E-09A7-4FC7-B2EB-4BF2B3280EEA}" srcOrd="0" destOrd="0" presId="urn:microsoft.com/office/officeart/2005/8/layout/hList1"/>
    <dgm:cxn modelId="{948580F6-9A59-49B8-B134-E17B3457A00D}" srcId="{EA33F7BB-9DB6-4895-AED3-2EFF50EA879B}" destId="{9B016B37-9B94-428F-91BD-F512BB4D13E3}" srcOrd="3" destOrd="0" parTransId="{95DC1BF7-C6F6-469F-B4B2-D733AD82E6C3}" sibTransId="{EEDA3721-B505-4AA8-BA26-4AB0EAE5A2E1}"/>
    <dgm:cxn modelId="{5E5D67FD-51B2-4D15-852D-31935C689E4E}" srcId="{EA33F7BB-9DB6-4895-AED3-2EFF50EA879B}" destId="{B8252222-156E-4DA8-A1E7-2B0B5D067240}" srcOrd="2" destOrd="0" parTransId="{527083CD-5341-431A-B979-78A2DDE458B4}" sibTransId="{DA368932-EE90-407B-8A5A-4949960287CE}"/>
    <dgm:cxn modelId="{760EC40C-2035-401E-A6AF-044BF6B7ED76}" type="presParOf" srcId="{A4EA9A34-C325-4BE7-ABE4-06D8524565AB}" destId="{0C432329-A844-4222-B2CE-A62A50BB1907}" srcOrd="0" destOrd="0" presId="urn:microsoft.com/office/officeart/2005/8/layout/hList1"/>
    <dgm:cxn modelId="{F93B079A-BE1D-4BDD-95EE-38302A5AEF95}" type="presParOf" srcId="{0C432329-A844-4222-B2CE-A62A50BB1907}" destId="{C779168E-09A7-4FC7-B2EB-4BF2B3280EEA}" srcOrd="0" destOrd="0" presId="urn:microsoft.com/office/officeart/2005/8/layout/hList1"/>
    <dgm:cxn modelId="{CBCCC80C-E6D1-4AC4-BA39-A005B4215BEB}" type="presParOf" srcId="{0C432329-A844-4222-B2CE-A62A50BB1907}" destId="{AD82FA61-1850-4B59-B124-9E03954BAFF0}" srcOrd="1" destOrd="0" presId="urn:microsoft.com/office/officeart/2005/8/layout/hList1"/>
    <dgm:cxn modelId="{AA0AACE9-98DD-4581-B2D8-3629A0DB9287}" type="presParOf" srcId="{A4EA9A34-C325-4BE7-ABE4-06D8524565AB}" destId="{2F147288-9BCE-41AC-962C-58CDF06B9B26}" srcOrd="1" destOrd="0" presId="urn:microsoft.com/office/officeart/2005/8/layout/hList1"/>
    <dgm:cxn modelId="{D9724796-EBAB-409C-B99D-63F036D4A168}" type="presParOf" srcId="{A4EA9A34-C325-4BE7-ABE4-06D8524565AB}" destId="{159F0336-7D69-4A08-981E-D8DB57B4C584}" srcOrd="2" destOrd="0" presId="urn:microsoft.com/office/officeart/2005/8/layout/hList1"/>
    <dgm:cxn modelId="{CC30C96D-EA9F-46D2-A724-5C43A0496369}" type="presParOf" srcId="{159F0336-7D69-4A08-981E-D8DB57B4C584}" destId="{5B3159C4-B630-46CE-86BB-39F10831FF9C}" srcOrd="0" destOrd="0" presId="urn:microsoft.com/office/officeart/2005/8/layout/hList1"/>
    <dgm:cxn modelId="{A288C90A-7A4F-4C6F-AA1B-00C5C721E44A}" type="presParOf" srcId="{159F0336-7D69-4A08-981E-D8DB57B4C584}" destId="{821CDC50-C3A6-405C-AC50-7346C099707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23DD64-AB16-4434-8C6C-63B100AD8622}"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00B82AE-FE5E-45A3-9842-8FCD742E8ACF}">
      <dgm:prSet phldrT="[Text]" custT="1"/>
      <dgm:spPr/>
      <dgm:t>
        <a:bodyPr/>
        <a:lstStyle/>
        <a:p>
          <a:pPr>
            <a:buNone/>
          </a:pPr>
          <a:r>
            <a:rPr lang="en-US" sz="2400" b="1" dirty="0"/>
            <a:t>Row mode execution</a:t>
          </a:r>
          <a:endParaRPr lang="en-US" sz="2400" dirty="0"/>
        </a:p>
      </dgm:t>
    </dgm:pt>
    <dgm:pt modelId="{254D225E-D992-4641-A00B-9443EC72E75E}" type="parTrans" cxnId="{1ACC604C-16D7-46D3-96B6-1BF2A58FA78E}">
      <dgm:prSet/>
      <dgm:spPr/>
      <dgm:t>
        <a:bodyPr/>
        <a:lstStyle/>
        <a:p>
          <a:endParaRPr lang="en-US"/>
        </a:p>
      </dgm:t>
    </dgm:pt>
    <dgm:pt modelId="{0ACE353A-9CB8-48A6-B72E-2FE15C1B8C45}" type="sibTrans" cxnId="{1ACC604C-16D7-46D3-96B6-1BF2A58FA78E}">
      <dgm:prSet/>
      <dgm:spPr/>
      <dgm:t>
        <a:bodyPr/>
        <a:lstStyle/>
        <a:p>
          <a:endParaRPr lang="en-US"/>
        </a:p>
      </dgm:t>
    </dgm:pt>
    <dgm:pt modelId="{0814C5F0-9821-403F-8D69-27161441D0FC}">
      <dgm:prSet custT="1"/>
      <dgm:spPr/>
      <dgm:t>
        <a:bodyPr/>
        <a:lstStyle/>
        <a:p>
          <a:r>
            <a:rPr lang="en-US" sz="2400" b="1" dirty="0"/>
            <a:t>Batch mode execution</a:t>
          </a:r>
          <a:endParaRPr lang="en-US" sz="2400" dirty="0"/>
        </a:p>
      </dgm:t>
    </dgm:pt>
    <dgm:pt modelId="{C26D88FA-3E84-4208-A95A-A3BA54C7A16C}" type="parTrans" cxnId="{758943A1-A3BA-449F-8051-A14BA2FAD2CB}">
      <dgm:prSet/>
      <dgm:spPr/>
      <dgm:t>
        <a:bodyPr/>
        <a:lstStyle/>
        <a:p>
          <a:endParaRPr lang="en-US"/>
        </a:p>
      </dgm:t>
    </dgm:pt>
    <dgm:pt modelId="{CC02D201-680E-4205-BEFA-758ADAFFC78C}" type="sibTrans" cxnId="{758943A1-A3BA-449F-8051-A14BA2FAD2CB}">
      <dgm:prSet/>
      <dgm:spPr/>
      <dgm:t>
        <a:bodyPr/>
        <a:lstStyle/>
        <a:p>
          <a:endParaRPr lang="en-US"/>
        </a:p>
      </dgm:t>
    </dgm:pt>
    <dgm:pt modelId="{17636B08-BA29-45B5-983E-2FEB426F654F}">
      <dgm:prSet/>
      <dgm:spPr/>
      <dgm:t>
        <a:bodyPr/>
        <a:lstStyle/>
        <a:p>
          <a:r>
            <a:rPr lang="en-US" b="0" i="0" dirty="0"/>
            <a:t>Efficient for Data Warehousing scenarios</a:t>
          </a:r>
          <a:endParaRPr lang="en-US" dirty="0"/>
        </a:p>
      </dgm:t>
    </dgm:pt>
    <dgm:pt modelId="{8E83074B-E922-4C0B-B052-29BB1206AC9D}" type="parTrans" cxnId="{506B8DB1-82C0-4E91-A8A2-C408ADECE3BB}">
      <dgm:prSet/>
      <dgm:spPr/>
      <dgm:t>
        <a:bodyPr/>
        <a:lstStyle/>
        <a:p>
          <a:endParaRPr lang="en-US"/>
        </a:p>
      </dgm:t>
    </dgm:pt>
    <dgm:pt modelId="{9A50A0C5-9832-4716-81D2-88E94588C4D2}" type="sibTrans" cxnId="{506B8DB1-82C0-4E91-A8A2-C408ADECE3BB}">
      <dgm:prSet/>
      <dgm:spPr/>
      <dgm:t>
        <a:bodyPr/>
        <a:lstStyle/>
        <a:p>
          <a:endParaRPr lang="en-US"/>
        </a:p>
      </dgm:t>
    </dgm:pt>
    <dgm:pt modelId="{9EF74FB6-53B1-4ACE-9B92-3AEB68ECE854}">
      <dgm:prSet phldrT="[Text]"/>
      <dgm:spPr/>
      <dgm:t>
        <a:bodyPr/>
        <a:lstStyle/>
        <a:p>
          <a:pPr>
            <a:buFont typeface="Arial" panose="020B0604020202020204" pitchFamily="34" charset="0"/>
            <a:buChar char="•"/>
          </a:pPr>
          <a:r>
            <a:rPr lang="en-US" b="0" i="0" dirty="0"/>
            <a:t>Efficient for OLTP scenarios</a:t>
          </a:r>
          <a:endParaRPr lang="en-US" dirty="0"/>
        </a:p>
      </dgm:t>
    </dgm:pt>
    <dgm:pt modelId="{BE1B52FA-E11D-4D00-81ED-CE2B989C5689}" type="parTrans" cxnId="{078755BC-47AD-4ED9-835A-892B304F8EB5}">
      <dgm:prSet/>
      <dgm:spPr/>
      <dgm:t>
        <a:bodyPr/>
        <a:lstStyle/>
        <a:p>
          <a:endParaRPr lang="en-US"/>
        </a:p>
      </dgm:t>
    </dgm:pt>
    <dgm:pt modelId="{8A9A65C7-11A4-41A1-BE54-D31E2E8DFACB}" type="sibTrans" cxnId="{078755BC-47AD-4ED9-835A-892B304F8EB5}">
      <dgm:prSet/>
      <dgm:spPr/>
      <dgm:t>
        <a:bodyPr/>
        <a:lstStyle/>
        <a:p>
          <a:endParaRPr lang="en-US"/>
        </a:p>
      </dgm:t>
    </dgm:pt>
    <dgm:pt modelId="{447EECC4-3FD8-4E7E-8822-475250EB35B4}">
      <dgm:prSet phldrT="[Text]"/>
      <dgm:spPr/>
      <dgm:t>
        <a:bodyPr/>
        <a:lstStyle/>
        <a:p>
          <a:pPr>
            <a:buFont typeface="Arial" panose="020B0604020202020204" pitchFamily="34" charset="0"/>
            <a:buChar char="•"/>
          </a:pPr>
          <a:r>
            <a:rPr lang="en-US" b="0" i="0" dirty="0"/>
            <a:t>Operators read all columns from qualifying rows based on predicate, and for each row it retrieves columns needed for the result set</a:t>
          </a:r>
          <a:endParaRPr lang="en-US" dirty="0"/>
        </a:p>
      </dgm:t>
    </dgm:pt>
    <dgm:pt modelId="{4425527D-0A44-4B2A-A44D-B7D60BA942C5}" type="parTrans" cxnId="{8F85D785-74BF-4E71-BF23-408A4EC6FDDA}">
      <dgm:prSet/>
      <dgm:spPr/>
      <dgm:t>
        <a:bodyPr/>
        <a:lstStyle/>
        <a:p>
          <a:endParaRPr lang="en-US"/>
        </a:p>
      </dgm:t>
    </dgm:pt>
    <dgm:pt modelId="{4836C47B-BC6E-41BD-B2A8-87C7AD7F01E0}" type="sibTrans" cxnId="{8F85D785-74BF-4E71-BF23-408A4EC6FDDA}">
      <dgm:prSet/>
      <dgm:spPr/>
      <dgm:t>
        <a:bodyPr/>
        <a:lstStyle/>
        <a:p>
          <a:endParaRPr lang="en-US"/>
        </a:p>
      </dgm:t>
    </dgm:pt>
    <dgm:pt modelId="{43FB6299-B685-4F26-8C58-B151446F88A5}">
      <dgm:prSet/>
      <dgm:spPr/>
      <dgm:t>
        <a:bodyPr/>
        <a:lstStyle/>
        <a:p>
          <a:r>
            <a:rPr lang="en-US" b="0" i="0" dirty="0"/>
            <a:t>Used to process multiple rows together </a:t>
          </a:r>
          <a:endParaRPr lang="en-US" dirty="0"/>
        </a:p>
      </dgm:t>
    </dgm:pt>
    <dgm:pt modelId="{121E9758-DD7D-4FEB-B260-9A68E27C628C}" type="parTrans" cxnId="{239E45CF-9F58-46D2-99AF-7A4CBA84D548}">
      <dgm:prSet/>
      <dgm:spPr/>
      <dgm:t>
        <a:bodyPr/>
        <a:lstStyle/>
        <a:p>
          <a:endParaRPr lang="en-US"/>
        </a:p>
      </dgm:t>
    </dgm:pt>
    <dgm:pt modelId="{5F3876D5-FC89-4DD9-8B7B-976E2B94CD54}" type="sibTrans" cxnId="{239E45CF-9F58-46D2-99AF-7A4CBA84D548}">
      <dgm:prSet/>
      <dgm:spPr/>
      <dgm:t>
        <a:bodyPr/>
        <a:lstStyle/>
        <a:p>
          <a:endParaRPr lang="en-US"/>
        </a:p>
      </dgm:t>
    </dgm:pt>
    <dgm:pt modelId="{BAA5A48F-B375-418F-8FB2-FA7983B46618}">
      <dgm:prSet/>
      <dgm:spPr/>
      <dgm:t>
        <a:bodyPr/>
        <a:lstStyle/>
        <a:p>
          <a:r>
            <a:rPr lang="en-US" b="0" i="0" dirty="0"/>
            <a:t>Closely integrated with, and optimized around the ColumnStore storage format</a:t>
          </a:r>
          <a:endParaRPr lang="en-US" dirty="0"/>
        </a:p>
      </dgm:t>
    </dgm:pt>
    <dgm:pt modelId="{0CA5345F-A72B-4A27-A938-93A2B2989378}" type="parTrans" cxnId="{9425544F-CD6C-4043-83E1-DCDB23328D48}">
      <dgm:prSet/>
      <dgm:spPr/>
      <dgm:t>
        <a:bodyPr/>
        <a:lstStyle/>
        <a:p>
          <a:endParaRPr lang="en-US"/>
        </a:p>
      </dgm:t>
    </dgm:pt>
    <dgm:pt modelId="{FA4E3840-5D9B-4E89-87A9-977ABE29280D}" type="sibTrans" cxnId="{9425544F-CD6C-4043-83E1-DCDB23328D48}">
      <dgm:prSet/>
      <dgm:spPr/>
      <dgm:t>
        <a:bodyPr/>
        <a:lstStyle/>
        <a:p>
          <a:endParaRPr lang="en-US"/>
        </a:p>
      </dgm:t>
    </dgm:pt>
    <dgm:pt modelId="{C11B7BF4-0C80-474E-A3DF-A0CC969BF58B}">
      <dgm:prSet/>
      <dgm:spPr/>
      <dgm:t>
        <a:bodyPr/>
        <a:lstStyle/>
        <a:p>
          <a:r>
            <a:rPr lang="en-US" b="0" i="0" dirty="0"/>
            <a:t>Operators read only the columns required for the result, from group of rows together. </a:t>
          </a:r>
          <a:endParaRPr lang="en-US" dirty="0"/>
        </a:p>
      </dgm:t>
    </dgm:pt>
    <dgm:pt modelId="{5D3D4C41-E0A9-4DC0-BDF5-9A8A4491AC6B}" type="parTrans" cxnId="{F6CC10D5-7362-4AAD-8581-442923527BE4}">
      <dgm:prSet/>
      <dgm:spPr/>
      <dgm:t>
        <a:bodyPr/>
        <a:lstStyle/>
        <a:p>
          <a:endParaRPr lang="en-US"/>
        </a:p>
      </dgm:t>
    </dgm:pt>
    <dgm:pt modelId="{E4312FA7-54F4-4792-8734-C32698A29C91}" type="sibTrans" cxnId="{F6CC10D5-7362-4AAD-8581-442923527BE4}">
      <dgm:prSet/>
      <dgm:spPr/>
      <dgm:t>
        <a:bodyPr/>
        <a:lstStyle/>
        <a:p>
          <a:endParaRPr lang="en-US"/>
        </a:p>
      </dgm:t>
    </dgm:pt>
    <dgm:pt modelId="{D06D06FA-7F21-40F3-A979-AD0EAA4142A3}">
      <dgm:prSet phldrT="[Text]"/>
      <dgm:spPr/>
      <dgm:t>
        <a:bodyPr/>
        <a:lstStyle/>
        <a:p>
          <a:pPr>
            <a:buFont typeface="Arial" panose="020B0604020202020204" pitchFamily="34" charset="0"/>
            <a:buChar char="•"/>
          </a:pPr>
          <a:r>
            <a:rPr lang="en-US" b="0" i="0" dirty="0"/>
            <a:t>Used with traditional tables, where data is stored in row-wise format.</a:t>
          </a:r>
          <a:endParaRPr lang="en-US" dirty="0"/>
        </a:p>
      </dgm:t>
    </dgm:pt>
    <dgm:pt modelId="{3C78E4ED-731D-4B81-9653-1750C4ED0E43}" type="parTrans" cxnId="{C269E522-5F3D-45C4-B362-D9BCBB03F989}">
      <dgm:prSet/>
      <dgm:spPr/>
      <dgm:t>
        <a:bodyPr/>
        <a:lstStyle/>
        <a:p>
          <a:endParaRPr lang="en-US"/>
        </a:p>
      </dgm:t>
    </dgm:pt>
    <dgm:pt modelId="{A6F02124-096F-404F-9424-29C4B313BC42}" type="sibTrans" cxnId="{C269E522-5F3D-45C4-B362-D9BCBB03F989}">
      <dgm:prSet/>
      <dgm:spPr/>
      <dgm:t>
        <a:bodyPr/>
        <a:lstStyle/>
        <a:p>
          <a:endParaRPr lang="en-US"/>
        </a:p>
      </dgm:t>
    </dgm:pt>
    <dgm:pt modelId="{07232872-4507-4A00-B0FF-703D7B1BD5ED}">
      <dgm:prSet/>
      <dgm:spPr/>
      <dgm:t>
        <a:bodyPr/>
        <a:lstStyle/>
        <a:p>
          <a:r>
            <a:rPr lang="en-US" b="0" i="0" dirty="0"/>
            <a:t>Starting SQL Server 2019, Batch mode does not require a ColumnStore index as in the previous versions. </a:t>
          </a:r>
          <a:endParaRPr lang="en-US" dirty="0"/>
        </a:p>
      </dgm:t>
    </dgm:pt>
    <dgm:pt modelId="{226BBA94-3137-48C1-B5B1-FB5D185C8BEB}" type="parTrans" cxnId="{8DD8ED02-BB0B-4155-86F4-F07310E8716D}">
      <dgm:prSet/>
      <dgm:spPr/>
      <dgm:t>
        <a:bodyPr/>
        <a:lstStyle/>
        <a:p>
          <a:endParaRPr lang="en-US"/>
        </a:p>
      </dgm:t>
    </dgm:pt>
    <dgm:pt modelId="{F2F30B32-9E85-41B8-AE1A-B7113E5C2406}" type="sibTrans" cxnId="{8DD8ED02-BB0B-4155-86F4-F07310E8716D}">
      <dgm:prSet/>
      <dgm:spPr/>
      <dgm:t>
        <a:bodyPr/>
        <a:lstStyle/>
        <a:p>
          <a:endParaRPr lang="en-US"/>
        </a:p>
      </dgm:t>
    </dgm:pt>
    <dgm:pt modelId="{F382C64E-B7BF-417A-98A9-D7AF85105BA1}" type="pres">
      <dgm:prSet presAssocID="{E523DD64-AB16-4434-8C6C-63B100AD8622}" presName="Name0" presStyleCnt="0">
        <dgm:presLayoutVars>
          <dgm:dir/>
          <dgm:animLvl val="lvl"/>
          <dgm:resizeHandles val="exact"/>
        </dgm:presLayoutVars>
      </dgm:prSet>
      <dgm:spPr/>
    </dgm:pt>
    <dgm:pt modelId="{05196067-32F7-437E-8B1C-098781804F09}" type="pres">
      <dgm:prSet presAssocID="{800B82AE-FE5E-45A3-9842-8FCD742E8ACF}" presName="composite" presStyleCnt="0"/>
      <dgm:spPr/>
    </dgm:pt>
    <dgm:pt modelId="{928BB729-5FAF-4FDC-8763-0EC7070DA586}" type="pres">
      <dgm:prSet presAssocID="{800B82AE-FE5E-45A3-9842-8FCD742E8ACF}" presName="parTx" presStyleLbl="alignNode1" presStyleIdx="0" presStyleCnt="2">
        <dgm:presLayoutVars>
          <dgm:chMax val="0"/>
          <dgm:chPref val="0"/>
          <dgm:bulletEnabled val="1"/>
        </dgm:presLayoutVars>
      </dgm:prSet>
      <dgm:spPr/>
    </dgm:pt>
    <dgm:pt modelId="{CEAF6B90-0D08-4139-8A68-D903CFB5F089}" type="pres">
      <dgm:prSet presAssocID="{800B82AE-FE5E-45A3-9842-8FCD742E8ACF}" presName="desTx" presStyleLbl="alignAccFollowNode1" presStyleIdx="0" presStyleCnt="2">
        <dgm:presLayoutVars>
          <dgm:bulletEnabled val="1"/>
        </dgm:presLayoutVars>
      </dgm:prSet>
      <dgm:spPr/>
    </dgm:pt>
    <dgm:pt modelId="{330BCF7B-2053-4B53-BBE0-059BE43E539C}" type="pres">
      <dgm:prSet presAssocID="{0ACE353A-9CB8-48A6-B72E-2FE15C1B8C45}" presName="space" presStyleCnt="0"/>
      <dgm:spPr/>
    </dgm:pt>
    <dgm:pt modelId="{27E48CCB-9087-4359-A621-691E2EA860B9}" type="pres">
      <dgm:prSet presAssocID="{0814C5F0-9821-403F-8D69-27161441D0FC}" presName="composite" presStyleCnt="0"/>
      <dgm:spPr/>
    </dgm:pt>
    <dgm:pt modelId="{70ECC63C-BB2F-4460-9AB9-B03533F828E3}" type="pres">
      <dgm:prSet presAssocID="{0814C5F0-9821-403F-8D69-27161441D0FC}" presName="parTx" presStyleLbl="alignNode1" presStyleIdx="1" presStyleCnt="2">
        <dgm:presLayoutVars>
          <dgm:chMax val="0"/>
          <dgm:chPref val="0"/>
          <dgm:bulletEnabled val="1"/>
        </dgm:presLayoutVars>
      </dgm:prSet>
      <dgm:spPr/>
    </dgm:pt>
    <dgm:pt modelId="{7DEF81B7-7B1F-432A-95D0-EB9FB294D1B8}" type="pres">
      <dgm:prSet presAssocID="{0814C5F0-9821-403F-8D69-27161441D0FC}" presName="desTx" presStyleLbl="alignAccFollowNode1" presStyleIdx="1" presStyleCnt="2">
        <dgm:presLayoutVars>
          <dgm:bulletEnabled val="1"/>
        </dgm:presLayoutVars>
      </dgm:prSet>
      <dgm:spPr/>
    </dgm:pt>
  </dgm:ptLst>
  <dgm:cxnLst>
    <dgm:cxn modelId="{752C0A00-0A0E-46AA-AD3C-26EF02A5FFC0}" type="presOf" srcId="{BAA5A48F-B375-418F-8FB2-FA7983B46618}" destId="{7DEF81B7-7B1F-432A-95D0-EB9FB294D1B8}" srcOrd="0" destOrd="2" presId="urn:microsoft.com/office/officeart/2005/8/layout/hList1"/>
    <dgm:cxn modelId="{8DD8ED02-BB0B-4155-86F4-F07310E8716D}" srcId="{0814C5F0-9821-403F-8D69-27161441D0FC}" destId="{07232872-4507-4A00-B0FF-703D7B1BD5ED}" srcOrd="4" destOrd="0" parTransId="{226BBA94-3137-48C1-B5B1-FB5D185C8BEB}" sibTransId="{F2F30B32-9E85-41B8-AE1A-B7113E5C2406}"/>
    <dgm:cxn modelId="{C269E522-5F3D-45C4-B362-D9BCBB03F989}" srcId="{800B82AE-FE5E-45A3-9842-8FCD742E8ACF}" destId="{D06D06FA-7F21-40F3-A979-AD0EAA4142A3}" srcOrd="1" destOrd="0" parTransId="{3C78E4ED-731D-4B81-9653-1750C4ED0E43}" sibTransId="{A6F02124-096F-404F-9424-29C4B313BC42}"/>
    <dgm:cxn modelId="{ED63B32F-7A67-4591-892B-3D561E795012}" type="presOf" srcId="{447EECC4-3FD8-4E7E-8822-475250EB35B4}" destId="{CEAF6B90-0D08-4139-8A68-D903CFB5F089}" srcOrd="0" destOrd="2" presId="urn:microsoft.com/office/officeart/2005/8/layout/hList1"/>
    <dgm:cxn modelId="{9643013B-EC5A-4E4A-ADB2-988F4AA5DD5B}" type="presOf" srcId="{800B82AE-FE5E-45A3-9842-8FCD742E8ACF}" destId="{928BB729-5FAF-4FDC-8763-0EC7070DA586}" srcOrd="0" destOrd="0" presId="urn:microsoft.com/office/officeart/2005/8/layout/hList1"/>
    <dgm:cxn modelId="{D396D73B-EA4D-4CF9-B435-73D79E646740}" type="presOf" srcId="{D06D06FA-7F21-40F3-A979-AD0EAA4142A3}" destId="{CEAF6B90-0D08-4139-8A68-D903CFB5F089}" srcOrd="0" destOrd="1" presId="urn:microsoft.com/office/officeart/2005/8/layout/hList1"/>
    <dgm:cxn modelId="{6E3FE068-9775-49D9-B1EB-4A33932CDB70}" type="presOf" srcId="{0814C5F0-9821-403F-8D69-27161441D0FC}" destId="{70ECC63C-BB2F-4460-9AB9-B03533F828E3}" srcOrd="0" destOrd="0" presId="urn:microsoft.com/office/officeart/2005/8/layout/hList1"/>
    <dgm:cxn modelId="{1ACC604C-16D7-46D3-96B6-1BF2A58FA78E}" srcId="{E523DD64-AB16-4434-8C6C-63B100AD8622}" destId="{800B82AE-FE5E-45A3-9842-8FCD742E8ACF}" srcOrd="0" destOrd="0" parTransId="{254D225E-D992-4641-A00B-9443EC72E75E}" sibTransId="{0ACE353A-9CB8-48A6-B72E-2FE15C1B8C45}"/>
    <dgm:cxn modelId="{F669DE6E-E884-4BD3-9846-C3B730967431}" type="presOf" srcId="{E523DD64-AB16-4434-8C6C-63B100AD8622}" destId="{F382C64E-B7BF-417A-98A9-D7AF85105BA1}" srcOrd="0" destOrd="0" presId="urn:microsoft.com/office/officeart/2005/8/layout/hList1"/>
    <dgm:cxn modelId="{9425544F-CD6C-4043-83E1-DCDB23328D48}" srcId="{0814C5F0-9821-403F-8D69-27161441D0FC}" destId="{BAA5A48F-B375-418F-8FB2-FA7983B46618}" srcOrd="2" destOrd="0" parTransId="{0CA5345F-A72B-4A27-A938-93A2B2989378}" sibTransId="{FA4E3840-5D9B-4E89-87A9-977ABE29280D}"/>
    <dgm:cxn modelId="{04C63F55-0FAD-48E6-A262-BA721FAFB298}" type="presOf" srcId="{17636B08-BA29-45B5-983E-2FEB426F654F}" destId="{7DEF81B7-7B1F-432A-95D0-EB9FB294D1B8}" srcOrd="0" destOrd="0" presId="urn:microsoft.com/office/officeart/2005/8/layout/hList1"/>
    <dgm:cxn modelId="{AA488F84-EA92-4C9D-9EE0-459F4FEA4F34}" type="presOf" srcId="{07232872-4507-4A00-B0FF-703D7B1BD5ED}" destId="{7DEF81B7-7B1F-432A-95D0-EB9FB294D1B8}" srcOrd="0" destOrd="4" presId="urn:microsoft.com/office/officeart/2005/8/layout/hList1"/>
    <dgm:cxn modelId="{8F85D785-74BF-4E71-BF23-408A4EC6FDDA}" srcId="{800B82AE-FE5E-45A3-9842-8FCD742E8ACF}" destId="{447EECC4-3FD8-4E7E-8822-475250EB35B4}" srcOrd="2" destOrd="0" parTransId="{4425527D-0A44-4B2A-A44D-B7D60BA942C5}" sibTransId="{4836C47B-BC6E-41BD-B2A8-87C7AD7F01E0}"/>
    <dgm:cxn modelId="{758943A1-A3BA-449F-8051-A14BA2FAD2CB}" srcId="{E523DD64-AB16-4434-8C6C-63B100AD8622}" destId="{0814C5F0-9821-403F-8D69-27161441D0FC}" srcOrd="1" destOrd="0" parTransId="{C26D88FA-3E84-4208-A95A-A3BA54C7A16C}" sibTransId="{CC02D201-680E-4205-BEFA-758ADAFFC78C}"/>
    <dgm:cxn modelId="{506B8DB1-82C0-4E91-A8A2-C408ADECE3BB}" srcId="{0814C5F0-9821-403F-8D69-27161441D0FC}" destId="{17636B08-BA29-45B5-983E-2FEB426F654F}" srcOrd="0" destOrd="0" parTransId="{8E83074B-E922-4C0B-B052-29BB1206AC9D}" sibTransId="{9A50A0C5-9832-4716-81D2-88E94588C4D2}"/>
    <dgm:cxn modelId="{759705BC-BF6C-4418-8985-4ED51C459DD6}" type="presOf" srcId="{43FB6299-B685-4F26-8C58-B151446F88A5}" destId="{7DEF81B7-7B1F-432A-95D0-EB9FB294D1B8}" srcOrd="0" destOrd="1" presId="urn:microsoft.com/office/officeart/2005/8/layout/hList1"/>
    <dgm:cxn modelId="{078755BC-47AD-4ED9-835A-892B304F8EB5}" srcId="{800B82AE-FE5E-45A3-9842-8FCD742E8ACF}" destId="{9EF74FB6-53B1-4ACE-9B92-3AEB68ECE854}" srcOrd="0" destOrd="0" parTransId="{BE1B52FA-E11D-4D00-81ED-CE2B989C5689}" sibTransId="{8A9A65C7-11A4-41A1-BE54-D31E2E8DFACB}"/>
    <dgm:cxn modelId="{239E45CF-9F58-46D2-99AF-7A4CBA84D548}" srcId="{0814C5F0-9821-403F-8D69-27161441D0FC}" destId="{43FB6299-B685-4F26-8C58-B151446F88A5}" srcOrd="1" destOrd="0" parTransId="{121E9758-DD7D-4FEB-B260-9A68E27C628C}" sibTransId="{5F3876D5-FC89-4DD9-8B7B-976E2B94CD54}"/>
    <dgm:cxn modelId="{F6CC10D5-7362-4AAD-8581-442923527BE4}" srcId="{0814C5F0-9821-403F-8D69-27161441D0FC}" destId="{C11B7BF4-0C80-474E-A3DF-A0CC969BF58B}" srcOrd="3" destOrd="0" parTransId="{5D3D4C41-E0A9-4DC0-BDF5-9A8A4491AC6B}" sibTransId="{E4312FA7-54F4-4792-8734-C32698A29C91}"/>
    <dgm:cxn modelId="{5693A1F3-3A64-44E7-8B10-3D28606A535F}" type="presOf" srcId="{9EF74FB6-53B1-4ACE-9B92-3AEB68ECE854}" destId="{CEAF6B90-0D08-4139-8A68-D903CFB5F089}" srcOrd="0" destOrd="0" presId="urn:microsoft.com/office/officeart/2005/8/layout/hList1"/>
    <dgm:cxn modelId="{A21753F5-FCF8-4216-B5AB-62F4BD41DD9D}" type="presOf" srcId="{C11B7BF4-0C80-474E-A3DF-A0CC969BF58B}" destId="{7DEF81B7-7B1F-432A-95D0-EB9FB294D1B8}" srcOrd="0" destOrd="3" presId="urn:microsoft.com/office/officeart/2005/8/layout/hList1"/>
    <dgm:cxn modelId="{EA97CE34-3B04-4B8C-9DD7-333C2FA07EB1}" type="presParOf" srcId="{F382C64E-B7BF-417A-98A9-D7AF85105BA1}" destId="{05196067-32F7-437E-8B1C-098781804F09}" srcOrd="0" destOrd="0" presId="urn:microsoft.com/office/officeart/2005/8/layout/hList1"/>
    <dgm:cxn modelId="{1B7F0200-DA59-4852-9D46-E8677023CD53}" type="presParOf" srcId="{05196067-32F7-437E-8B1C-098781804F09}" destId="{928BB729-5FAF-4FDC-8763-0EC7070DA586}" srcOrd="0" destOrd="0" presId="urn:microsoft.com/office/officeart/2005/8/layout/hList1"/>
    <dgm:cxn modelId="{C119A246-340E-44BC-B836-98EE005B5221}" type="presParOf" srcId="{05196067-32F7-437E-8B1C-098781804F09}" destId="{CEAF6B90-0D08-4139-8A68-D903CFB5F089}" srcOrd="1" destOrd="0" presId="urn:microsoft.com/office/officeart/2005/8/layout/hList1"/>
    <dgm:cxn modelId="{D31AF472-9DAD-4786-B580-94F945A9DECB}" type="presParOf" srcId="{F382C64E-B7BF-417A-98A9-D7AF85105BA1}" destId="{330BCF7B-2053-4B53-BBE0-059BE43E539C}" srcOrd="1" destOrd="0" presId="urn:microsoft.com/office/officeart/2005/8/layout/hList1"/>
    <dgm:cxn modelId="{4CDCAEFF-9F64-484A-90FE-BB7541109DB8}" type="presParOf" srcId="{F382C64E-B7BF-417A-98A9-D7AF85105BA1}" destId="{27E48CCB-9087-4359-A621-691E2EA860B9}" srcOrd="2" destOrd="0" presId="urn:microsoft.com/office/officeart/2005/8/layout/hList1"/>
    <dgm:cxn modelId="{9D525760-D708-48E7-8D83-48E36D686802}" type="presParOf" srcId="{27E48CCB-9087-4359-A621-691E2EA860B9}" destId="{70ECC63C-BB2F-4460-9AB9-B03533F828E3}" srcOrd="0" destOrd="0" presId="urn:microsoft.com/office/officeart/2005/8/layout/hList1"/>
    <dgm:cxn modelId="{B15095D6-A327-4E37-B4D6-C5A8A9751A30}" type="presParOf" srcId="{27E48CCB-9087-4359-A621-691E2EA860B9}" destId="{7DEF81B7-7B1F-432A-95D0-EB9FB294D1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E3456D-6195-4DDD-889F-51619F5D4BF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638D9CB-D0B2-45D9-AAB3-D1D3E175B31A}">
      <dgm:prSet phldrT="[Text]" custT="1"/>
      <dgm:spPr/>
      <dgm:t>
        <a:bodyPr/>
        <a:lstStyle/>
        <a:p>
          <a:r>
            <a:rPr lang="en-US" sz="2400" dirty="0"/>
            <a:t>The </a:t>
          </a:r>
          <a:r>
            <a:rPr lang="en-US" sz="2400" b="1" dirty="0"/>
            <a:t>Object Plans</a:t>
          </a:r>
          <a:r>
            <a:rPr lang="en-US" sz="2400" dirty="0"/>
            <a:t> cache store (OBJCP) </a:t>
          </a:r>
        </a:p>
        <a:p>
          <a:r>
            <a:rPr lang="en-US" sz="2400" dirty="0"/>
            <a:t>used for plans related to persisted objects (stored procedures, functions, and triggers).</a:t>
          </a:r>
        </a:p>
      </dgm:t>
    </dgm:pt>
    <dgm:pt modelId="{A12488BD-FC7A-4ABA-8FD9-EF67A0C3CD40}" type="parTrans" cxnId="{DB7F20C3-597F-4F40-90C5-4E9458158BBE}">
      <dgm:prSet/>
      <dgm:spPr/>
      <dgm:t>
        <a:bodyPr/>
        <a:lstStyle/>
        <a:p>
          <a:endParaRPr lang="en-US"/>
        </a:p>
      </dgm:t>
    </dgm:pt>
    <dgm:pt modelId="{D212BB7F-380C-4771-A160-9167CFE6B40F}" type="sibTrans" cxnId="{DB7F20C3-597F-4F40-90C5-4E9458158BBE}">
      <dgm:prSet/>
      <dgm:spPr/>
      <dgm:t>
        <a:bodyPr/>
        <a:lstStyle/>
        <a:p>
          <a:endParaRPr lang="en-US"/>
        </a:p>
      </dgm:t>
    </dgm:pt>
    <dgm:pt modelId="{87070551-8327-463C-834C-67B979C0B729}">
      <dgm:prSet custT="1"/>
      <dgm:spPr/>
      <dgm:t>
        <a:bodyPr/>
        <a:lstStyle/>
        <a:p>
          <a:r>
            <a:rPr lang="en-US" sz="2300" dirty="0"/>
            <a:t>The </a:t>
          </a:r>
          <a:r>
            <a:rPr lang="en-US" sz="2300" b="1" dirty="0"/>
            <a:t>SQL </a:t>
          </a:r>
          <a:r>
            <a:rPr lang="en-US" sz="2400" b="1" dirty="0"/>
            <a:t>Plans</a:t>
          </a:r>
          <a:r>
            <a:rPr lang="en-US" sz="2400" dirty="0"/>
            <a:t> cache store (SQLCP) </a:t>
          </a:r>
        </a:p>
        <a:p>
          <a:r>
            <a:rPr lang="en-US" sz="2400" dirty="0"/>
            <a:t>used for plans related to autoparameterized, dynamic, or prepared queries.</a:t>
          </a:r>
        </a:p>
      </dgm:t>
    </dgm:pt>
    <dgm:pt modelId="{A3CEAE69-8BB6-4310-A1F4-94C9742DC2B7}" type="parTrans" cxnId="{EEF2FBB4-60DC-461F-BD46-66E3B31C4A8D}">
      <dgm:prSet/>
      <dgm:spPr/>
      <dgm:t>
        <a:bodyPr/>
        <a:lstStyle/>
        <a:p>
          <a:endParaRPr lang="en-US"/>
        </a:p>
      </dgm:t>
    </dgm:pt>
    <dgm:pt modelId="{3BD3CE00-20E4-4689-A7AC-EA1DA2065CED}" type="sibTrans" cxnId="{EEF2FBB4-60DC-461F-BD46-66E3B31C4A8D}">
      <dgm:prSet/>
      <dgm:spPr/>
      <dgm:t>
        <a:bodyPr/>
        <a:lstStyle/>
        <a:p>
          <a:endParaRPr lang="en-US"/>
        </a:p>
      </dgm:t>
    </dgm:pt>
    <dgm:pt modelId="{B6ED8F0C-D485-4391-BA2D-661BFEE87076}" type="pres">
      <dgm:prSet presAssocID="{77E3456D-6195-4DDD-889F-51619F5D4BFB}" presName="diagram" presStyleCnt="0">
        <dgm:presLayoutVars>
          <dgm:dir/>
          <dgm:resizeHandles val="exact"/>
        </dgm:presLayoutVars>
      </dgm:prSet>
      <dgm:spPr/>
    </dgm:pt>
    <dgm:pt modelId="{7E039D22-5AC4-42B5-9857-08FA4E60A21B}" type="pres">
      <dgm:prSet presAssocID="{2638D9CB-D0B2-45D9-AAB3-D1D3E175B31A}" presName="node" presStyleLbl="node1" presStyleIdx="0" presStyleCnt="2" custScaleX="330711" custScaleY="175735">
        <dgm:presLayoutVars>
          <dgm:bulletEnabled val="1"/>
        </dgm:presLayoutVars>
      </dgm:prSet>
      <dgm:spPr/>
    </dgm:pt>
    <dgm:pt modelId="{16F87CFB-65D7-4366-A134-604F5BDAA562}" type="pres">
      <dgm:prSet presAssocID="{D212BB7F-380C-4771-A160-9167CFE6B40F}" presName="sibTrans" presStyleCnt="0"/>
      <dgm:spPr/>
    </dgm:pt>
    <dgm:pt modelId="{0607B600-7462-40FE-AD92-970B5E415713}" type="pres">
      <dgm:prSet presAssocID="{87070551-8327-463C-834C-67B979C0B729}" presName="node" presStyleLbl="node1" presStyleIdx="1" presStyleCnt="2" custScaleX="330711" custScaleY="175735">
        <dgm:presLayoutVars>
          <dgm:bulletEnabled val="1"/>
        </dgm:presLayoutVars>
      </dgm:prSet>
      <dgm:spPr/>
    </dgm:pt>
  </dgm:ptLst>
  <dgm:cxnLst>
    <dgm:cxn modelId="{6E39222B-2D1B-4CBB-A95C-19C359A737BE}" type="presOf" srcId="{2638D9CB-D0B2-45D9-AAB3-D1D3E175B31A}" destId="{7E039D22-5AC4-42B5-9857-08FA4E60A21B}" srcOrd="0" destOrd="0" presId="urn:microsoft.com/office/officeart/2005/8/layout/default"/>
    <dgm:cxn modelId="{EEF2FBB4-60DC-461F-BD46-66E3B31C4A8D}" srcId="{77E3456D-6195-4DDD-889F-51619F5D4BFB}" destId="{87070551-8327-463C-834C-67B979C0B729}" srcOrd="1" destOrd="0" parTransId="{A3CEAE69-8BB6-4310-A1F4-94C9742DC2B7}" sibTransId="{3BD3CE00-20E4-4689-A7AC-EA1DA2065CED}"/>
    <dgm:cxn modelId="{DB7F20C3-597F-4F40-90C5-4E9458158BBE}" srcId="{77E3456D-6195-4DDD-889F-51619F5D4BFB}" destId="{2638D9CB-D0B2-45D9-AAB3-D1D3E175B31A}" srcOrd="0" destOrd="0" parTransId="{A12488BD-FC7A-4ABA-8FD9-EF67A0C3CD40}" sibTransId="{D212BB7F-380C-4771-A160-9167CFE6B40F}"/>
    <dgm:cxn modelId="{06FD21C7-8700-4671-AB63-1ADA10D1CA0D}" type="presOf" srcId="{87070551-8327-463C-834C-67B979C0B729}" destId="{0607B600-7462-40FE-AD92-970B5E415713}" srcOrd="0" destOrd="0" presId="urn:microsoft.com/office/officeart/2005/8/layout/default"/>
    <dgm:cxn modelId="{D44141CA-C19E-4B6C-8929-DEE1113CCCE0}" type="presOf" srcId="{77E3456D-6195-4DDD-889F-51619F5D4BFB}" destId="{B6ED8F0C-D485-4391-BA2D-661BFEE87076}" srcOrd="0" destOrd="0" presId="urn:microsoft.com/office/officeart/2005/8/layout/default"/>
    <dgm:cxn modelId="{7E7E47C6-2C3D-4AE7-A021-B5766D974E7A}" type="presParOf" srcId="{B6ED8F0C-D485-4391-BA2D-661BFEE87076}" destId="{7E039D22-5AC4-42B5-9857-08FA4E60A21B}" srcOrd="0" destOrd="0" presId="urn:microsoft.com/office/officeart/2005/8/layout/default"/>
    <dgm:cxn modelId="{AA810CCE-A284-4458-AFA6-D0215B41A97D}" type="presParOf" srcId="{B6ED8F0C-D485-4391-BA2D-661BFEE87076}" destId="{16F87CFB-65D7-4366-A134-604F5BDAA562}" srcOrd="1" destOrd="0" presId="urn:microsoft.com/office/officeart/2005/8/layout/default"/>
    <dgm:cxn modelId="{70CC9E80-1A24-48D3-93FE-DEF0E1F9840A}" type="presParOf" srcId="{B6ED8F0C-D485-4391-BA2D-661BFEE87076}" destId="{0607B600-7462-40FE-AD92-970B5E41571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857284A-DA74-4FFE-9E7E-89FCDA6C03D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8F9D448-0773-4C37-82B8-3BBB884A7CE7}">
      <dgm:prSet phldrT="[Text]" custT="1"/>
      <dgm:spPr/>
      <dgm:t>
        <a:bodyPr/>
        <a:lstStyle/>
        <a:p>
          <a:r>
            <a:rPr lang="en-US" sz="2400" dirty="0"/>
            <a:t>Compilation</a:t>
          </a:r>
        </a:p>
      </dgm:t>
    </dgm:pt>
    <dgm:pt modelId="{DE95D5BA-0638-4D0D-B821-25AE6964230E}" type="parTrans" cxnId="{513CD765-C67E-4304-A4D1-6C5D215FF692}">
      <dgm:prSet/>
      <dgm:spPr/>
      <dgm:t>
        <a:bodyPr/>
        <a:lstStyle/>
        <a:p>
          <a:endParaRPr lang="en-US"/>
        </a:p>
      </dgm:t>
    </dgm:pt>
    <dgm:pt modelId="{A8289F88-33F7-44F4-9A0F-35C7536B9A7A}" type="sibTrans" cxnId="{513CD765-C67E-4304-A4D1-6C5D215FF692}">
      <dgm:prSet/>
      <dgm:spPr/>
      <dgm:t>
        <a:bodyPr/>
        <a:lstStyle/>
        <a:p>
          <a:endParaRPr lang="en-US"/>
        </a:p>
      </dgm:t>
    </dgm:pt>
    <dgm:pt modelId="{1718987D-845B-4DE8-8EC9-87D30B9B5D6F}">
      <dgm:prSet/>
      <dgm:spPr/>
      <dgm:t>
        <a:bodyPr/>
        <a:lstStyle/>
        <a:p>
          <a:pPr marL="0" indent="0">
            <a:buNone/>
          </a:pPr>
          <a:r>
            <a:rPr lang="en-US" dirty="0"/>
            <a:t>Process of creating a good enough query execution plan, as quickly as possible for a query batch. </a:t>
          </a:r>
        </a:p>
      </dgm:t>
    </dgm:pt>
    <dgm:pt modelId="{CB3ED2FC-18BE-4C16-A249-A9083FAFEB3A}" type="parTrans" cxnId="{235B5F9B-A394-436A-91C8-13103B0DA768}">
      <dgm:prSet/>
      <dgm:spPr/>
      <dgm:t>
        <a:bodyPr/>
        <a:lstStyle/>
        <a:p>
          <a:endParaRPr lang="en-US"/>
        </a:p>
      </dgm:t>
    </dgm:pt>
    <dgm:pt modelId="{F2AB5F58-B76E-43F8-BC7F-76AB50F23F6D}" type="sibTrans" cxnId="{235B5F9B-A394-436A-91C8-13103B0DA768}">
      <dgm:prSet/>
      <dgm:spPr/>
      <dgm:t>
        <a:bodyPr/>
        <a:lstStyle/>
        <a:p>
          <a:endParaRPr lang="en-US"/>
        </a:p>
      </dgm:t>
    </dgm:pt>
    <dgm:pt modelId="{46382EB3-0A8E-4130-A9B8-3F4A2ED1720E}">
      <dgm:prSet/>
      <dgm:spPr/>
      <dgm:t>
        <a:bodyPr/>
        <a:lstStyle/>
        <a:p>
          <a:pPr marL="0" indent="0">
            <a:buNone/>
          </a:pPr>
          <a:r>
            <a:rPr lang="en-US" dirty="0"/>
            <a:t>Refer to both the compilation of non-DML constructs in SQL statements (control flow, DDL, etc.) and the process of Query Optimization.</a:t>
          </a:r>
        </a:p>
      </dgm:t>
    </dgm:pt>
    <dgm:pt modelId="{A8F60ADD-9DAB-40E0-B7FC-2981D4E84714}" type="parTrans" cxnId="{9426F63C-0838-4A0D-BB32-5B558A0959CA}">
      <dgm:prSet/>
      <dgm:spPr/>
      <dgm:t>
        <a:bodyPr/>
        <a:lstStyle/>
        <a:p>
          <a:endParaRPr lang="en-US"/>
        </a:p>
      </dgm:t>
    </dgm:pt>
    <dgm:pt modelId="{C0661175-3B49-410A-A9EC-2B7988540868}" type="sibTrans" cxnId="{9426F63C-0838-4A0D-BB32-5B558A0959CA}">
      <dgm:prSet/>
      <dgm:spPr/>
      <dgm:t>
        <a:bodyPr/>
        <a:lstStyle/>
        <a:p>
          <a:endParaRPr lang="en-US"/>
        </a:p>
      </dgm:t>
    </dgm:pt>
    <dgm:pt modelId="{31BD5438-473C-4E4C-888C-3ECA85D744DD}">
      <dgm:prSet custT="1"/>
      <dgm:spPr/>
      <dgm:t>
        <a:bodyPr/>
        <a:lstStyle/>
        <a:p>
          <a:r>
            <a:rPr lang="en-US" sz="2400" dirty="0"/>
            <a:t>Query Execution</a:t>
          </a:r>
        </a:p>
      </dgm:t>
    </dgm:pt>
    <dgm:pt modelId="{8E5320E9-77FA-4501-B2D7-DE95E9B23027}" type="parTrans" cxnId="{7ED15842-694B-4ACC-8186-9C3BFB875BB7}">
      <dgm:prSet/>
      <dgm:spPr/>
      <dgm:t>
        <a:bodyPr/>
        <a:lstStyle/>
        <a:p>
          <a:endParaRPr lang="en-US"/>
        </a:p>
      </dgm:t>
    </dgm:pt>
    <dgm:pt modelId="{4E669F4F-92D1-4826-82C6-3B393B87EEF7}" type="sibTrans" cxnId="{7ED15842-694B-4ACC-8186-9C3BFB875BB7}">
      <dgm:prSet/>
      <dgm:spPr/>
      <dgm:t>
        <a:bodyPr/>
        <a:lstStyle/>
        <a:p>
          <a:endParaRPr lang="en-US"/>
        </a:p>
      </dgm:t>
    </dgm:pt>
    <dgm:pt modelId="{6C58BDEA-9D02-48B1-8D38-94085F8DF2B2}">
      <dgm:prSet/>
      <dgm:spPr/>
      <dgm:t>
        <a:bodyPr/>
        <a:lstStyle/>
        <a:p>
          <a:pPr marL="0" indent="0">
            <a:buNone/>
          </a:pPr>
          <a:r>
            <a:rPr lang="en-US" dirty="0"/>
            <a:t>Process of executing the plan that is created during query compilation and optimization.</a:t>
          </a:r>
        </a:p>
      </dgm:t>
    </dgm:pt>
    <dgm:pt modelId="{18250D15-ED09-49D3-9DE4-5598DEE27817}" type="parTrans" cxnId="{2750F228-7713-4D7F-BF3D-48E649EDEB3E}">
      <dgm:prSet/>
      <dgm:spPr/>
      <dgm:t>
        <a:bodyPr/>
        <a:lstStyle/>
        <a:p>
          <a:endParaRPr lang="en-US"/>
        </a:p>
      </dgm:t>
    </dgm:pt>
    <dgm:pt modelId="{22052F57-11C1-4DB0-917E-629D85DF34AB}" type="sibTrans" cxnId="{2750F228-7713-4D7F-BF3D-48E649EDEB3E}">
      <dgm:prSet/>
      <dgm:spPr/>
      <dgm:t>
        <a:bodyPr/>
        <a:lstStyle/>
        <a:p>
          <a:endParaRPr lang="en-US"/>
        </a:p>
      </dgm:t>
    </dgm:pt>
    <dgm:pt modelId="{1915631B-863C-4673-8946-9170A16CD21F}">
      <dgm:prSet/>
      <dgm:spPr/>
      <dgm:t>
        <a:bodyPr/>
        <a:lstStyle/>
        <a:p>
          <a:pPr marL="0" indent="0">
            <a:buNone/>
          </a:pPr>
          <a:endParaRPr lang="en-US" dirty="0"/>
        </a:p>
      </dgm:t>
    </dgm:pt>
    <dgm:pt modelId="{826F1295-B6CD-41F8-ADD6-8DE180B0A23C}" type="parTrans" cxnId="{B4BF8FCC-8E0E-4C3C-A315-A10BC736EBAB}">
      <dgm:prSet/>
      <dgm:spPr/>
      <dgm:t>
        <a:bodyPr/>
        <a:lstStyle/>
        <a:p>
          <a:endParaRPr lang="en-US"/>
        </a:p>
      </dgm:t>
    </dgm:pt>
    <dgm:pt modelId="{68D49257-C5F1-4DDE-A4EB-23B05F271F16}" type="sibTrans" cxnId="{B4BF8FCC-8E0E-4C3C-A315-A10BC736EBAB}">
      <dgm:prSet/>
      <dgm:spPr/>
      <dgm:t>
        <a:bodyPr/>
        <a:lstStyle/>
        <a:p>
          <a:endParaRPr lang="en-US"/>
        </a:p>
      </dgm:t>
    </dgm:pt>
    <dgm:pt modelId="{68920C21-2E07-4002-B0D0-E3C2017B0021}" type="pres">
      <dgm:prSet presAssocID="{B857284A-DA74-4FFE-9E7E-89FCDA6C03D9}" presName="Name0" presStyleCnt="0">
        <dgm:presLayoutVars>
          <dgm:dir/>
          <dgm:animLvl val="lvl"/>
          <dgm:resizeHandles val="exact"/>
        </dgm:presLayoutVars>
      </dgm:prSet>
      <dgm:spPr/>
    </dgm:pt>
    <dgm:pt modelId="{510042EC-EC4D-4547-833B-6622B27420D6}" type="pres">
      <dgm:prSet presAssocID="{A8F9D448-0773-4C37-82B8-3BBB884A7CE7}" presName="composite" presStyleCnt="0"/>
      <dgm:spPr/>
    </dgm:pt>
    <dgm:pt modelId="{C86561AE-EB91-46FB-9CB1-DACF71BDC270}" type="pres">
      <dgm:prSet presAssocID="{A8F9D448-0773-4C37-82B8-3BBB884A7CE7}" presName="parTx" presStyleLbl="alignNode1" presStyleIdx="0" presStyleCnt="2">
        <dgm:presLayoutVars>
          <dgm:chMax val="0"/>
          <dgm:chPref val="0"/>
          <dgm:bulletEnabled val="1"/>
        </dgm:presLayoutVars>
      </dgm:prSet>
      <dgm:spPr/>
    </dgm:pt>
    <dgm:pt modelId="{7A91FE17-D52D-42E4-9023-C82B59410906}" type="pres">
      <dgm:prSet presAssocID="{A8F9D448-0773-4C37-82B8-3BBB884A7CE7}" presName="desTx" presStyleLbl="alignAccFollowNode1" presStyleIdx="0" presStyleCnt="2">
        <dgm:presLayoutVars>
          <dgm:bulletEnabled val="1"/>
        </dgm:presLayoutVars>
      </dgm:prSet>
      <dgm:spPr/>
    </dgm:pt>
    <dgm:pt modelId="{23C367E0-3D18-4E3B-BEA9-96600B22C6A7}" type="pres">
      <dgm:prSet presAssocID="{A8289F88-33F7-44F4-9A0F-35C7536B9A7A}" presName="space" presStyleCnt="0"/>
      <dgm:spPr/>
    </dgm:pt>
    <dgm:pt modelId="{C82AF9CD-9C98-4438-B340-CC7B1F506EEE}" type="pres">
      <dgm:prSet presAssocID="{31BD5438-473C-4E4C-888C-3ECA85D744DD}" presName="composite" presStyleCnt="0"/>
      <dgm:spPr/>
    </dgm:pt>
    <dgm:pt modelId="{F78F4538-100B-4C82-9CFE-2186CFD513CF}" type="pres">
      <dgm:prSet presAssocID="{31BD5438-473C-4E4C-888C-3ECA85D744DD}" presName="parTx" presStyleLbl="alignNode1" presStyleIdx="1" presStyleCnt="2" custLinFactNeighborX="-1417" custLinFactNeighborY="-6173">
        <dgm:presLayoutVars>
          <dgm:chMax val="0"/>
          <dgm:chPref val="0"/>
          <dgm:bulletEnabled val="1"/>
        </dgm:presLayoutVars>
      </dgm:prSet>
      <dgm:spPr/>
    </dgm:pt>
    <dgm:pt modelId="{104DBD2F-E6D9-4451-9F99-A11E3EE6A967}" type="pres">
      <dgm:prSet presAssocID="{31BD5438-473C-4E4C-888C-3ECA85D744DD}" presName="desTx" presStyleLbl="alignAccFollowNode1" presStyleIdx="1" presStyleCnt="2">
        <dgm:presLayoutVars>
          <dgm:bulletEnabled val="1"/>
        </dgm:presLayoutVars>
      </dgm:prSet>
      <dgm:spPr/>
    </dgm:pt>
  </dgm:ptLst>
  <dgm:cxnLst>
    <dgm:cxn modelId="{2750F228-7713-4D7F-BF3D-48E649EDEB3E}" srcId="{31BD5438-473C-4E4C-888C-3ECA85D744DD}" destId="{6C58BDEA-9D02-48B1-8D38-94085F8DF2B2}" srcOrd="0" destOrd="0" parTransId="{18250D15-ED09-49D3-9DE4-5598DEE27817}" sibTransId="{22052F57-11C1-4DB0-917E-629D85DF34AB}"/>
    <dgm:cxn modelId="{2AD13F32-325A-429E-B2F6-15D720D455AF}" type="presOf" srcId="{1915631B-863C-4673-8946-9170A16CD21F}" destId="{7A91FE17-D52D-42E4-9023-C82B59410906}" srcOrd="0" destOrd="1" presId="urn:microsoft.com/office/officeart/2005/8/layout/hList1"/>
    <dgm:cxn modelId="{9426F63C-0838-4A0D-BB32-5B558A0959CA}" srcId="{A8F9D448-0773-4C37-82B8-3BBB884A7CE7}" destId="{46382EB3-0A8E-4130-A9B8-3F4A2ED1720E}" srcOrd="2" destOrd="0" parTransId="{A8F60ADD-9DAB-40E0-B7FC-2981D4E84714}" sibTransId="{C0661175-3B49-410A-A9EC-2B7988540868}"/>
    <dgm:cxn modelId="{8670B65F-7838-4482-B7CD-DA29526477E6}" type="presOf" srcId="{A8F9D448-0773-4C37-82B8-3BBB884A7CE7}" destId="{C86561AE-EB91-46FB-9CB1-DACF71BDC270}" srcOrd="0" destOrd="0" presId="urn:microsoft.com/office/officeart/2005/8/layout/hList1"/>
    <dgm:cxn modelId="{7ED15842-694B-4ACC-8186-9C3BFB875BB7}" srcId="{B857284A-DA74-4FFE-9E7E-89FCDA6C03D9}" destId="{31BD5438-473C-4E4C-888C-3ECA85D744DD}" srcOrd="1" destOrd="0" parTransId="{8E5320E9-77FA-4501-B2D7-DE95E9B23027}" sibTransId="{4E669F4F-92D1-4826-82C6-3B393B87EEF7}"/>
    <dgm:cxn modelId="{513CD765-C67E-4304-A4D1-6C5D215FF692}" srcId="{B857284A-DA74-4FFE-9E7E-89FCDA6C03D9}" destId="{A8F9D448-0773-4C37-82B8-3BBB884A7CE7}" srcOrd="0" destOrd="0" parTransId="{DE95D5BA-0638-4D0D-B821-25AE6964230E}" sibTransId="{A8289F88-33F7-44F4-9A0F-35C7536B9A7A}"/>
    <dgm:cxn modelId="{E4C73059-B5F6-4B02-A068-52446988EB41}" type="presOf" srcId="{46382EB3-0A8E-4130-A9B8-3F4A2ED1720E}" destId="{7A91FE17-D52D-42E4-9023-C82B59410906}" srcOrd="0" destOrd="2" presId="urn:microsoft.com/office/officeart/2005/8/layout/hList1"/>
    <dgm:cxn modelId="{235B5F9B-A394-436A-91C8-13103B0DA768}" srcId="{A8F9D448-0773-4C37-82B8-3BBB884A7CE7}" destId="{1718987D-845B-4DE8-8EC9-87D30B9B5D6F}" srcOrd="0" destOrd="0" parTransId="{CB3ED2FC-18BE-4C16-A249-A9083FAFEB3A}" sibTransId="{F2AB5F58-B76E-43F8-BC7F-76AB50F23F6D}"/>
    <dgm:cxn modelId="{097A109C-121D-454C-96C1-EFE4D0C4C018}" type="presOf" srcId="{6C58BDEA-9D02-48B1-8D38-94085F8DF2B2}" destId="{104DBD2F-E6D9-4451-9F99-A11E3EE6A967}" srcOrd="0" destOrd="0" presId="urn:microsoft.com/office/officeart/2005/8/layout/hList1"/>
    <dgm:cxn modelId="{F061F2A9-FCBB-4378-90D4-8505A734E34C}" type="presOf" srcId="{31BD5438-473C-4E4C-888C-3ECA85D744DD}" destId="{F78F4538-100B-4C82-9CFE-2186CFD513CF}" srcOrd="0" destOrd="0" presId="urn:microsoft.com/office/officeart/2005/8/layout/hList1"/>
    <dgm:cxn modelId="{5B77B8BE-60FC-401C-8146-0240A4F41558}" type="presOf" srcId="{B857284A-DA74-4FFE-9E7E-89FCDA6C03D9}" destId="{68920C21-2E07-4002-B0D0-E3C2017B0021}" srcOrd="0" destOrd="0" presId="urn:microsoft.com/office/officeart/2005/8/layout/hList1"/>
    <dgm:cxn modelId="{B4BF8FCC-8E0E-4C3C-A315-A10BC736EBAB}" srcId="{A8F9D448-0773-4C37-82B8-3BBB884A7CE7}" destId="{1915631B-863C-4673-8946-9170A16CD21F}" srcOrd="1" destOrd="0" parTransId="{826F1295-B6CD-41F8-ADD6-8DE180B0A23C}" sibTransId="{68D49257-C5F1-4DDE-A4EB-23B05F271F16}"/>
    <dgm:cxn modelId="{720E18FE-884B-40B4-962B-F16E3AF611D2}" type="presOf" srcId="{1718987D-845B-4DE8-8EC9-87D30B9B5D6F}" destId="{7A91FE17-D52D-42E4-9023-C82B59410906}" srcOrd="0" destOrd="0" presId="urn:microsoft.com/office/officeart/2005/8/layout/hList1"/>
    <dgm:cxn modelId="{4D41B517-C93D-41D0-A0F5-4CFEE07094DA}" type="presParOf" srcId="{68920C21-2E07-4002-B0D0-E3C2017B0021}" destId="{510042EC-EC4D-4547-833B-6622B27420D6}" srcOrd="0" destOrd="0" presId="urn:microsoft.com/office/officeart/2005/8/layout/hList1"/>
    <dgm:cxn modelId="{4CC711A5-91F2-467D-9815-A9B6AB43838B}" type="presParOf" srcId="{510042EC-EC4D-4547-833B-6622B27420D6}" destId="{C86561AE-EB91-46FB-9CB1-DACF71BDC270}" srcOrd="0" destOrd="0" presId="urn:microsoft.com/office/officeart/2005/8/layout/hList1"/>
    <dgm:cxn modelId="{56DD52E5-4DE1-4480-A4D4-66BFCA28C49C}" type="presParOf" srcId="{510042EC-EC4D-4547-833B-6622B27420D6}" destId="{7A91FE17-D52D-42E4-9023-C82B59410906}" srcOrd="1" destOrd="0" presId="urn:microsoft.com/office/officeart/2005/8/layout/hList1"/>
    <dgm:cxn modelId="{0E2659C1-06AB-40FB-8661-4A1D8C18FCBC}" type="presParOf" srcId="{68920C21-2E07-4002-B0D0-E3C2017B0021}" destId="{23C367E0-3D18-4E3B-BEA9-96600B22C6A7}" srcOrd="1" destOrd="0" presId="urn:microsoft.com/office/officeart/2005/8/layout/hList1"/>
    <dgm:cxn modelId="{9AB781EF-BB77-41F9-8455-3636C20A2885}" type="presParOf" srcId="{68920C21-2E07-4002-B0D0-E3C2017B0021}" destId="{C82AF9CD-9C98-4438-B340-CC7B1F506EEE}" srcOrd="2" destOrd="0" presId="urn:microsoft.com/office/officeart/2005/8/layout/hList1"/>
    <dgm:cxn modelId="{E952A2E4-792F-47DE-8143-2FDD33CCD8DC}" type="presParOf" srcId="{C82AF9CD-9C98-4438-B340-CC7B1F506EEE}" destId="{F78F4538-100B-4C82-9CFE-2186CFD513CF}" srcOrd="0" destOrd="0" presId="urn:microsoft.com/office/officeart/2005/8/layout/hList1"/>
    <dgm:cxn modelId="{B52EAD34-8595-4A4D-8EE1-165E6D6EBD08}" type="presParOf" srcId="{C82AF9CD-9C98-4438-B340-CC7B1F506EEE}" destId="{104DBD2F-E6D9-4451-9F99-A11E3EE6A9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7A54820-1179-41D0-9F0B-1C0C1D2DE87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3CA5C9C-4046-44BD-BD23-692B44D14D74}">
      <dgm:prSet/>
      <dgm:spPr/>
      <dgm:t>
        <a:bodyPr/>
        <a:lstStyle/>
        <a:p>
          <a:r>
            <a:rPr lang="en-US" baseline="0"/>
            <a:t>Most recompilations are required either for statement correctness or to obtain potentially faster query execution plan.</a:t>
          </a:r>
          <a:endParaRPr lang="en-US"/>
        </a:p>
      </dgm:t>
    </dgm:pt>
    <dgm:pt modelId="{D77C0AF1-B10B-412B-92D5-67D6AFF43E16}" type="parTrans" cxnId="{C5CF5BBD-B8B5-4396-9773-45E3D8459E53}">
      <dgm:prSet/>
      <dgm:spPr/>
      <dgm:t>
        <a:bodyPr/>
        <a:lstStyle/>
        <a:p>
          <a:endParaRPr lang="en-US"/>
        </a:p>
      </dgm:t>
    </dgm:pt>
    <dgm:pt modelId="{12057100-5AEA-4440-906B-DEC84AD11F19}" type="sibTrans" cxnId="{C5CF5BBD-B8B5-4396-9773-45E3D8459E53}">
      <dgm:prSet/>
      <dgm:spPr/>
      <dgm:t>
        <a:bodyPr/>
        <a:lstStyle/>
        <a:p>
          <a:endParaRPr lang="en-US"/>
        </a:p>
      </dgm:t>
    </dgm:pt>
    <dgm:pt modelId="{7B0409F6-71F8-4896-AB72-2EF325AD964A}">
      <dgm:prSet/>
      <dgm:spPr/>
      <dgm:t>
        <a:bodyPr/>
        <a:lstStyle/>
        <a:p>
          <a:r>
            <a:rPr lang="en-US" baseline="0"/>
            <a:t>The engine detects changes that invalidate execution plan(s) and marks those as not valid. New plan must be recompiled for the next query execution.</a:t>
          </a:r>
          <a:endParaRPr lang="en-US"/>
        </a:p>
      </dgm:t>
    </dgm:pt>
    <dgm:pt modelId="{1B29C441-872D-4412-9D40-874E1EE6E8F9}" type="parTrans" cxnId="{43A957B2-16B8-4B01-B09D-87842E9A38F2}">
      <dgm:prSet/>
      <dgm:spPr/>
      <dgm:t>
        <a:bodyPr/>
        <a:lstStyle/>
        <a:p>
          <a:endParaRPr lang="en-US"/>
        </a:p>
      </dgm:t>
    </dgm:pt>
    <dgm:pt modelId="{F9BB0583-578A-4E3F-B834-0B16ECEA78B3}" type="sibTrans" cxnId="{43A957B2-16B8-4B01-B09D-87842E9A38F2}">
      <dgm:prSet/>
      <dgm:spPr/>
      <dgm:t>
        <a:bodyPr/>
        <a:lstStyle/>
        <a:p>
          <a:endParaRPr lang="en-US"/>
        </a:p>
      </dgm:t>
    </dgm:pt>
    <dgm:pt modelId="{09678A35-919D-4F2C-8E8A-48A0D5830B87}">
      <dgm:prSet/>
      <dgm:spPr/>
      <dgm:t>
        <a:bodyPr/>
        <a:lstStyle/>
        <a:p>
          <a:r>
            <a:rPr lang="en-US" baseline="0"/>
            <a:t>Starting with SQL Server 2005, whenever a statement within a batch causes recompilation, only the statement inside the batch that triggers recompilation is recompiled. </a:t>
          </a:r>
          <a:endParaRPr lang="en-US"/>
        </a:p>
      </dgm:t>
    </dgm:pt>
    <dgm:pt modelId="{1B836FDC-6C91-419A-A738-0F512FC77FD2}" type="parTrans" cxnId="{6D1B4DF0-245C-4587-9257-B23396741A05}">
      <dgm:prSet/>
      <dgm:spPr/>
      <dgm:t>
        <a:bodyPr/>
        <a:lstStyle/>
        <a:p>
          <a:endParaRPr lang="en-US"/>
        </a:p>
      </dgm:t>
    </dgm:pt>
    <dgm:pt modelId="{95A618A2-5356-4621-918E-05132B9EF544}" type="sibTrans" cxnId="{6D1B4DF0-245C-4587-9257-B23396741A05}">
      <dgm:prSet/>
      <dgm:spPr/>
      <dgm:t>
        <a:bodyPr/>
        <a:lstStyle/>
        <a:p>
          <a:endParaRPr lang="en-US"/>
        </a:p>
      </dgm:t>
    </dgm:pt>
    <dgm:pt modelId="{456CAD0E-3613-4D47-AF50-80ADBF957F94}" type="pres">
      <dgm:prSet presAssocID="{F7A54820-1179-41D0-9F0B-1C0C1D2DE876}" presName="linear" presStyleCnt="0">
        <dgm:presLayoutVars>
          <dgm:animLvl val="lvl"/>
          <dgm:resizeHandles val="exact"/>
        </dgm:presLayoutVars>
      </dgm:prSet>
      <dgm:spPr/>
    </dgm:pt>
    <dgm:pt modelId="{A097A6CF-9EAC-4430-9593-81E6FD90A45A}" type="pres">
      <dgm:prSet presAssocID="{E3CA5C9C-4046-44BD-BD23-692B44D14D74}" presName="parentText" presStyleLbl="node1" presStyleIdx="0" presStyleCnt="3">
        <dgm:presLayoutVars>
          <dgm:chMax val="0"/>
          <dgm:bulletEnabled val="1"/>
        </dgm:presLayoutVars>
      </dgm:prSet>
      <dgm:spPr/>
    </dgm:pt>
    <dgm:pt modelId="{8D9E9FDA-9353-4F65-BA3D-936D45B22CB2}" type="pres">
      <dgm:prSet presAssocID="{12057100-5AEA-4440-906B-DEC84AD11F19}" presName="spacer" presStyleCnt="0"/>
      <dgm:spPr/>
    </dgm:pt>
    <dgm:pt modelId="{F4FEF3FC-9BCD-49CC-A9FB-C74CF051F99F}" type="pres">
      <dgm:prSet presAssocID="{7B0409F6-71F8-4896-AB72-2EF325AD964A}" presName="parentText" presStyleLbl="node1" presStyleIdx="1" presStyleCnt="3">
        <dgm:presLayoutVars>
          <dgm:chMax val="0"/>
          <dgm:bulletEnabled val="1"/>
        </dgm:presLayoutVars>
      </dgm:prSet>
      <dgm:spPr/>
    </dgm:pt>
    <dgm:pt modelId="{BF868B0D-0175-4439-B8A4-21C3D1F38B29}" type="pres">
      <dgm:prSet presAssocID="{F9BB0583-578A-4E3F-B834-0B16ECEA78B3}" presName="spacer" presStyleCnt="0"/>
      <dgm:spPr/>
    </dgm:pt>
    <dgm:pt modelId="{9656EFC1-6C72-43BD-B835-5BA8B28AFC60}" type="pres">
      <dgm:prSet presAssocID="{09678A35-919D-4F2C-8E8A-48A0D5830B87}" presName="parentText" presStyleLbl="node1" presStyleIdx="2" presStyleCnt="3">
        <dgm:presLayoutVars>
          <dgm:chMax val="0"/>
          <dgm:bulletEnabled val="1"/>
        </dgm:presLayoutVars>
      </dgm:prSet>
      <dgm:spPr/>
    </dgm:pt>
  </dgm:ptLst>
  <dgm:cxnLst>
    <dgm:cxn modelId="{7AF04D25-A74B-4959-A985-DADBB4B66D00}" type="presOf" srcId="{09678A35-919D-4F2C-8E8A-48A0D5830B87}" destId="{9656EFC1-6C72-43BD-B835-5BA8B28AFC60}" srcOrd="0" destOrd="0" presId="urn:microsoft.com/office/officeart/2005/8/layout/vList2"/>
    <dgm:cxn modelId="{C629643F-211A-464D-9CC2-E2D5EE075577}" type="presOf" srcId="{7B0409F6-71F8-4896-AB72-2EF325AD964A}" destId="{F4FEF3FC-9BCD-49CC-A9FB-C74CF051F99F}" srcOrd="0" destOrd="0" presId="urn:microsoft.com/office/officeart/2005/8/layout/vList2"/>
    <dgm:cxn modelId="{D1A8277D-58BF-4C65-8C7E-2D153F627C77}" type="presOf" srcId="{F7A54820-1179-41D0-9F0B-1C0C1D2DE876}" destId="{456CAD0E-3613-4D47-AF50-80ADBF957F94}" srcOrd="0" destOrd="0" presId="urn:microsoft.com/office/officeart/2005/8/layout/vList2"/>
    <dgm:cxn modelId="{43A957B2-16B8-4B01-B09D-87842E9A38F2}" srcId="{F7A54820-1179-41D0-9F0B-1C0C1D2DE876}" destId="{7B0409F6-71F8-4896-AB72-2EF325AD964A}" srcOrd="1" destOrd="0" parTransId="{1B29C441-872D-4412-9D40-874E1EE6E8F9}" sibTransId="{F9BB0583-578A-4E3F-B834-0B16ECEA78B3}"/>
    <dgm:cxn modelId="{C5CF5BBD-B8B5-4396-9773-45E3D8459E53}" srcId="{F7A54820-1179-41D0-9F0B-1C0C1D2DE876}" destId="{E3CA5C9C-4046-44BD-BD23-692B44D14D74}" srcOrd="0" destOrd="0" parTransId="{D77C0AF1-B10B-412B-92D5-67D6AFF43E16}" sibTransId="{12057100-5AEA-4440-906B-DEC84AD11F19}"/>
    <dgm:cxn modelId="{418078E2-D1AF-4397-B5CF-7B48FABA68A0}" type="presOf" srcId="{E3CA5C9C-4046-44BD-BD23-692B44D14D74}" destId="{A097A6CF-9EAC-4430-9593-81E6FD90A45A}" srcOrd="0" destOrd="0" presId="urn:microsoft.com/office/officeart/2005/8/layout/vList2"/>
    <dgm:cxn modelId="{6D1B4DF0-245C-4587-9257-B23396741A05}" srcId="{F7A54820-1179-41D0-9F0B-1C0C1D2DE876}" destId="{09678A35-919D-4F2C-8E8A-48A0D5830B87}" srcOrd="2" destOrd="0" parTransId="{1B836FDC-6C91-419A-A738-0F512FC77FD2}" sibTransId="{95A618A2-5356-4621-918E-05132B9EF544}"/>
    <dgm:cxn modelId="{B4A43427-E52E-4D33-8706-1BFCA5F21EC9}" type="presParOf" srcId="{456CAD0E-3613-4D47-AF50-80ADBF957F94}" destId="{A097A6CF-9EAC-4430-9593-81E6FD90A45A}" srcOrd="0" destOrd="0" presId="urn:microsoft.com/office/officeart/2005/8/layout/vList2"/>
    <dgm:cxn modelId="{458DE80C-8BB2-4E26-8497-A78227989919}" type="presParOf" srcId="{456CAD0E-3613-4D47-AF50-80ADBF957F94}" destId="{8D9E9FDA-9353-4F65-BA3D-936D45B22CB2}" srcOrd="1" destOrd="0" presId="urn:microsoft.com/office/officeart/2005/8/layout/vList2"/>
    <dgm:cxn modelId="{970CF965-E486-4DE0-9A17-E8F96E776902}" type="presParOf" srcId="{456CAD0E-3613-4D47-AF50-80ADBF957F94}" destId="{F4FEF3FC-9BCD-49CC-A9FB-C74CF051F99F}" srcOrd="2" destOrd="0" presId="urn:microsoft.com/office/officeart/2005/8/layout/vList2"/>
    <dgm:cxn modelId="{9E4C8B20-E266-4475-A177-A14F77A928DF}" type="presParOf" srcId="{456CAD0E-3613-4D47-AF50-80ADBF957F94}" destId="{BF868B0D-0175-4439-B8A4-21C3D1F38B29}" srcOrd="3" destOrd="0" presId="urn:microsoft.com/office/officeart/2005/8/layout/vList2"/>
    <dgm:cxn modelId="{3824EB0C-C44A-47DF-8FE1-0FD75E079C26}" type="presParOf" srcId="{456CAD0E-3613-4D47-AF50-80ADBF957F94}" destId="{9656EFC1-6C72-43BD-B835-5BA8B28AFC6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3F85593-57C3-40F8-8342-7AFBB93F9BC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4B74633-6284-4247-8368-2A82DC14C91B}">
      <dgm:prSet custT="1"/>
      <dgm:spPr/>
      <dgm:t>
        <a:bodyPr/>
        <a:lstStyle/>
        <a:p>
          <a:r>
            <a:rPr lang="en-US" sz="2400" dirty="0"/>
            <a:t>Table / Index Changes</a:t>
          </a:r>
        </a:p>
      </dgm:t>
    </dgm:pt>
    <dgm:pt modelId="{2610BBFE-1F2A-4D1B-AE8F-C4AEED1D2286}" type="parTrans" cxnId="{2C81B0A1-F3CE-418C-AF0E-CB7FB7C7A412}">
      <dgm:prSet/>
      <dgm:spPr/>
      <dgm:t>
        <a:bodyPr/>
        <a:lstStyle/>
        <a:p>
          <a:endParaRPr lang="en-US"/>
        </a:p>
      </dgm:t>
    </dgm:pt>
    <dgm:pt modelId="{5C29EB94-E6B7-438D-8002-BF61894FECB3}" type="sibTrans" cxnId="{2C81B0A1-F3CE-418C-AF0E-CB7FB7C7A412}">
      <dgm:prSet/>
      <dgm:spPr/>
      <dgm:t>
        <a:bodyPr/>
        <a:lstStyle/>
        <a:p>
          <a:endParaRPr lang="en-US"/>
        </a:p>
      </dgm:t>
    </dgm:pt>
    <dgm:pt modelId="{F7027B85-1BC6-4761-93EB-DB061EF1BEEB}">
      <dgm:prSet/>
      <dgm:spPr/>
      <dgm:t>
        <a:bodyPr/>
        <a:lstStyle/>
        <a:p>
          <a:r>
            <a:rPr lang="en-US" dirty="0"/>
            <a:t>Changes made to objects referenced by the query (ALTER TABLE and ALTER VIEW).</a:t>
          </a:r>
        </a:p>
      </dgm:t>
    </dgm:pt>
    <dgm:pt modelId="{1808F256-0DD6-4986-B3BD-94F4F0C7E037}" type="parTrans" cxnId="{146AD95E-C730-471F-A592-1CBF07B5215F}">
      <dgm:prSet/>
      <dgm:spPr/>
      <dgm:t>
        <a:bodyPr/>
        <a:lstStyle/>
        <a:p>
          <a:endParaRPr lang="en-US"/>
        </a:p>
      </dgm:t>
    </dgm:pt>
    <dgm:pt modelId="{C23743E0-7E97-443C-8549-E6965B314366}" type="sibTrans" cxnId="{146AD95E-C730-471F-A592-1CBF07B5215F}">
      <dgm:prSet/>
      <dgm:spPr/>
      <dgm:t>
        <a:bodyPr/>
        <a:lstStyle/>
        <a:p>
          <a:endParaRPr lang="en-US"/>
        </a:p>
      </dgm:t>
    </dgm:pt>
    <dgm:pt modelId="{6281B763-8F95-4BAF-BFE7-5B1A18834699}">
      <dgm:prSet/>
      <dgm:spPr/>
      <dgm:t>
        <a:bodyPr/>
        <a:lstStyle/>
        <a:p>
          <a:r>
            <a:rPr lang="en-US" dirty="0"/>
            <a:t>Changing or dropping any indexes used by the execution plan.</a:t>
          </a:r>
        </a:p>
      </dgm:t>
    </dgm:pt>
    <dgm:pt modelId="{21ABE8D6-8171-45C5-A7A9-A364B5D55D13}" type="parTrans" cxnId="{C9C35567-8C8D-47AF-A9A9-977FF6AC3415}">
      <dgm:prSet/>
      <dgm:spPr/>
      <dgm:t>
        <a:bodyPr/>
        <a:lstStyle/>
        <a:p>
          <a:endParaRPr lang="en-US"/>
        </a:p>
      </dgm:t>
    </dgm:pt>
    <dgm:pt modelId="{96FC877F-3756-42B6-8D59-559E67C2858C}" type="sibTrans" cxnId="{C9C35567-8C8D-47AF-A9A9-977FF6AC3415}">
      <dgm:prSet/>
      <dgm:spPr/>
      <dgm:t>
        <a:bodyPr/>
        <a:lstStyle/>
        <a:p>
          <a:endParaRPr lang="en-US"/>
        </a:p>
      </dgm:t>
    </dgm:pt>
    <dgm:pt modelId="{81D96F4F-D7EC-4739-BF6E-87346EA8B2D5}">
      <dgm:prSet custT="1"/>
      <dgm:spPr/>
      <dgm:t>
        <a:bodyPr/>
        <a:lstStyle/>
        <a:p>
          <a:r>
            <a:rPr lang="en-US" sz="2400" dirty="0"/>
            <a:t>Stored Procedures</a:t>
          </a:r>
        </a:p>
      </dgm:t>
    </dgm:pt>
    <dgm:pt modelId="{23C17D59-967F-440E-90F5-F2D7D12E3779}" type="parTrans" cxnId="{BA27FB59-DFB0-4203-836D-CE59FC073887}">
      <dgm:prSet/>
      <dgm:spPr/>
      <dgm:t>
        <a:bodyPr/>
        <a:lstStyle/>
        <a:p>
          <a:endParaRPr lang="en-US"/>
        </a:p>
      </dgm:t>
    </dgm:pt>
    <dgm:pt modelId="{A718AD11-1926-450D-A717-B61AFFCAA378}" type="sibTrans" cxnId="{BA27FB59-DFB0-4203-836D-CE59FC073887}">
      <dgm:prSet/>
      <dgm:spPr/>
      <dgm:t>
        <a:bodyPr/>
        <a:lstStyle/>
        <a:p>
          <a:endParaRPr lang="en-US"/>
        </a:p>
      </dgm:t>
    </dgm:pt>
    <dgm:pt modelId="{34675722-7C59-4704-9290-7A039D363E46}">
      <dgm:prSet/>
      <dgm:spPr/>
      <dgm:t>
        <a:bodyPr/>
        <a:lstStyle/>
        <a:p>
          <a:r>
            <a:rPr lang="en-US" dirty="0"/>
            <a:t>Changes made to a single procedure, which would drop all plans for that procedure from the cache (ALTER PROCEDURE).</a:t>
          </a:r>
        </a:p>
      </dgm:t>
    </dgm:pt>
    <dgm:pt modelId="{FE8F446E-C96F-4D37-A76B-040791962DFC}" type="parTrans" cxnId="{DE7F5754-2E40-49B8-886D-CA9925C6C0BB}">
      <dgm:prSet/>
      <dgm:spPr/>
      <dgm:t>
        <a:bodyPr/>
        <a:lstStyle/>
        <a:p>
          <a:endParaRPr lang="en-US"/>
        </a:p>
      </dgm:t>
    </dgm:pt>
    <dgm:pt modelId="{121CE28E-92C2-415C-B04C-8EEC6609FF6F}" type="sibTrans" cxnId="{DE7F5754-2E40-49B8-886D-CA9925C6C0BB}">
      <dgm:prSet/>
      <dgm:spPr/>
      <dgm:t>
        <a:bodyPr/>
        <a:lstStyle/>
        <a:p>
          <a:endParaRPr lang="en-US"/>
        </a:p>
      </dgm:t>
    </dgm:pt>
    <dgm:pt modelId="{7D8F7768-03F3-4934-917A-04717D94DFE8}">
      <dgm:prSet/>
      <dgm:spPr/>
      <dgm:t>
        <a:bodyPr/>
        <a:lstStyle/>
        <a:p>
          <a:r>
            <a:rPr lang="en-US" dirty="0"/>
            <a:t>Explicit call to sp_recompile.</a:t>
          </a:r>
        </a:p>
      </dgm:t>
    </dgm:pt>
    <dgm:pt modelId="{E59C9239-4253-4922-BC05-767C89651BA4}" type="parTrans" cxnId="{7F94D544-442E-4308-8DF6-42A9566CD83B}">
      <dgm:prSet/>
      <dgm:spPr/>
      <dgm:t>
        <a:bodyPr/>
        <a:lstStyle/>
        <a:p>
          <a:endParaRPr lang="en-US"/>
        </a:p>
      </dgm:t>
    </dgm:pt>
    <dgm:pt modelId="{3307DCFA-7692-4D46-9B73-8D7177C8445D}" type="sibTrans" cxnId="{7F94D544-442E-4308-8DF6-42A9566CD83B}">
      <dgm:prSet/>
      <dgm:spPr/>
      <dgm:t>
        <a:bodyPr/>
        <a:lstStyle/>
        <a:p>
          <a:endParaRPr lang="en-US"/>
        </a:p>
      </dgm:t>
    </dgm:pt>
    <dgm:pt modelId="{A48E72F0-225F-4DFC-AA8C-D0D11F0BAFA5}">
      <dgm:prSet/>
      <dgm:spPr/>
      <dgm:t>
        <a:bodyPr/>
        <a:lstStyle/>
        <a:p>
          <a:r>
            <a:rPr lang="en-US" dirty="0"/>
            <a:t>Executing a stored procedure using the WITH RECOMPILE option.</a:t>
          </a:r>
        </a:p>
      </dgm:t>
    </dgm:pt>
    <dgm:pt modelId="{80D53F7E-A81E-4023-83DF-A1613382F417}" type="parTrans" cxnId="{42502DD0-47E5-47FF-99DF-E7D76C0D2050}">
      <dgm:prSet/>
      <dgm:spPr/>
      <dgm:t>
        <a:bodyPr/>
        <a:lstStyle/>
        <a:p>
          <a:endParaRPr lang="en-US"/>
        </a:p>
      </dgm:t>
    </dgm:pt>
    <dgm:pt modelId="{5C6E6972-394D-4D9D-A26F-0C2CEBAE9750}" type="sibTrans" cxnId="{42502DD0-47E5-47FF-99DF-E7D76C0D2050}">
      <dgm:prSet/>
      <dgm:spPr/>
      <dgm:t>
        <a:bodyPr/>
        <a:lstStyle/>
        <a:p>
          <a:endParaRPr lang="en-US"/>
        </a:p>
      </dgm:t>
    </dgm:pt>
    <dgm:pt modelId="{2C0329F2-1669-4473-89A3-6C04A73A6EE1}">
      <dgm:prSet custT="1"/>
      <dgm:spPr/>
      <dgm:t>
        <a:bodyPr/>
        <a:lstStyle/>
        <a:p>
          <a:r>
            <a:rPr lang="en-US" sz="2400" dirty="0"/>
            <a:t>Data Volume </a:t>
          </a:r>
        </a:p>
      </dgm:t>
    </dgm:pt>
    <dgm:pt modelId="{F33FDC8E-FA63-43BF-8F02-D9A103ADC19C}" type="parTrans" cxnId="{17BC56CD-1DBD-4F51-A5E6-8D63C77BF6B7}">
      <dgm:prSet/>
      <dgm:spPr/>
      <dgm:t>
        <a:bodyPr/>
        <a:lstStyle/>
        <a:p>
          <a:endParaRPr lang="en-US"/>
        </a:p>
      </dgm:t>
    </dgm:pt>
    <dgm:pt modelId="{3B143A12-4CCA-4BAC-B489-077B5C39164B}" type="sibTrans" cxnId="{17BC56CD-1DBD-4F51-A5E6-8D63C77BF6B7}">
      <dgm:prSet/>
      <dgm:spPr/>
      <dgm:t>
        <a:bodyPr/>
        <a:lstStyle/>
        <a:p>
          <a:endParaRPr lang="en-US"/>
        </a:p>
      </dgm:t>
    </dgm:pt>
    <dgm:pt modelId="{8B258E8A-73A4-466C-B044-1E3C02411420}">
      <dgm:prSet/>
      <dgm:spPr/>
      <dgm:t>
        <a:bodyPr/>
        <a:lstStyle/>
        <a:p>
          <a:r>
            <a:rPr lang="en-US" dirty="0"/>
            <a:t>Updates on statistics used by the execution plan</a:t>
          </a:r>
        </a:p>
      </dgm:t>
    </dgm:pt>
    <dgm:pt modelId="{359CDC7C-6D96-44D6-940D-5A9C11881548}" type="parTrans" cxnId="{0F65CC24-5842-4C81-BFD3-B736E56EE296}">
      <dgm:prSet/>
      <dgm:spPr/>
      <dgm:t>
        <a:bodyPr/>
        <a:lstStyle/>
        <a:p>
          <a:endParaRPr lang="en-US"/>
        </a:p>
      </dgm:t>
    </dgm:pt>
    <dgm:pt modelId="{B73722FB-BD18-4612-B7E7-C2B9249BBE54}" type="sibTrans" cxnId="{0F65CC24-5842-4C81-BFD3-B736E56EE296}">
      <dgm:prSet/>
      <dgm:spPr/>
      <dgm:t>
        <a:bodyPr/>
        <a:lstStyle/>
        <a:p>
          <a:endParaRPr lang="en-US"/>
        </a:p>
      </dgm:t>
    </dgm:pt>
    <dgm:pt modelId="{5CDFF824-8B0D-41EC-A895-ECC1EB3D536F}">
      <dgm:prSet/>
      <dgm:spPr/>
      <dgm:t>
        <a:bodyPr/>
        <a:lstStyle/>
        <a:p>
          <a:r>
            <a:rPr lang="en-US" dirty="0"/>
            <a:t>For tables with triggers, if the number of rows in the inserted or deleted tables grows significantly.</a:t>
          </a:r>
        </a:p>
      </dgm:t>
    </dgm:pt>
    <dgm:pt modelId="{D63D7654-1ED6-41AB-A0D0-F93D88654505}" type="parTrans" cxnId="{BED89897-9FC1-4441-80EB-DB3DA34D926C}">
      <dgm:prSet/>
      <dgm:spPr/>
      <dgm:t>
        <a:bodyPr/>
        <a:lstStyle/>
        <a:p>
          <a:endParaRPr lang="en-US"/>
        </a:p>
      </dgm:t>
    </dgm:pt>
    <dgm:pt modelId="{1C4A0C3B-802E-45A3-BE2B-BB5EE39D50E5}" type="sibTrans" cxnId="{BED89897-9FC1-4441-80EB-DB3DA34D926C}">
      <dgm:prSet/>
      <dgm:spPr/>
      <dgm:t>
        <a:bodyPr/>
        <a:lstStyle/>
        <a:p>
          <a:endParaRPr lang="en-US"/>
        </a:p>
      </dgm:t>
    </dgm:pt>
    <dgm:pt modelId="{AF4D19B7-1AFF-428D-A00B-20249EED3EA2}">
      <dgm:prSet custT="1"/>
      <dgm:spPr/>
      <dgm:t>
        <a:bodyPr/>
        <a:lstStyle/>
        <a:p>
          <a:r>
            <a:rPr lang="en-US" sz="2400" dirty="0"/>
            <a:t>Other</a:t>
          </a:r>
        </a:p>
      </dgm:t>
    </dgm:pt>
    <dgm:pt modelId="{2FC2D696-169E-4421-9A4B-FB418E8E809A}" type="parTrans" cxnId="{7DF91BB4-251E-49D2-A126-EF60CAD59D38}">
      <dgm:prSet/>
      <dgm:spPr/>
      <dgm:t>
        <a:bodyPr/>
        <a:lstStyle/>
        <a:p>
          <a:endParaRPr lang="en-US"/>
        </a:p>
      </dgm:t>
    </dgm:pt>
    <dgm:pt modelId="{87BC6EF8-2763-4EF2-9CF1-28AA26F46209}" type="sibTrans" cxnId="{7DF91BB4-251E-49D2-A126-EF60CAD59D38}">
      <dgm:prSet/>
      <dgm:spPr/>
      <dgm:t>
        <a:bodyPr/>
        <a:lstStyle/>
        <a:p>
          <a:endParaRPr lang="en-US"/>
        </a:p>
      </dgm:t>
    </dgm:pt>
    <dgm:pt modelId="{F9C764F7-8271-465D-B636-6B8007DB7CCD}">
      <dgm:prSet/>
      <dgm:spPr/>
      <dgm:t>
        <a:bodyPr/>
        <a:lstStyle/>
        <a:p>
          <a:r>
            <a:rPr lang="en-US" dirty="0"/>
            <a:t>Large numbers of changes to keys (generated by statements from other users that modify a table referenced by the query).</a:t>
          </a:r>
        </a:p>
      </dgm:t>
    </dgm:pt>
    <dgm:pt modelId="{83F9E006-C48C-428B-92B6-259B598CA916}" type="parTrans" cxnId="{89B94312-664A-4615-9639-78E8CB1D595C}">
      <dgm:prSet/>
      <dgm:spPr/>
      <dgm:t>
        <a:bodyPr/>
        <a:lstStyle/>
        <a:p>
          <a:endParaRPr lang="en-US"/>
        </a:p>
      </dgm:t>
    </dgm:pt>
    <dgm:pt modelId="{175D3612-6975-4F4D-BB03-08B5186C02C6}" type="sibTrans" cxnId="{89B94312-664A-4615-9639-78E8CB1D595C}">
      <dgm:prSet/>
      <dgm:spPr/>
      <dgm:t>
        <a:bodyPr/>
        <a:lstStyle/>
        <a:p>
          <a:endParaRPr lang="en-US"/>
        </a:p>
      </dgm:t>
    </dgm:pt>
    <dgm:pt modelId="{E6F1BF31-AAAF-4384-A0D5-6CEF18705545}">
      <dgm:prSet/>
      <dgm:spPr/>
      <dgm:t>
        <a:bodyPr/>
        <a:lstStyle/>
        <a:p>
          <a:r>
            <a:rPr lang="en-US" dirty="0"/>
            <a:t>Temporary table changes</a:t>
          </a:r>
        </a:p>
      </dgm:t>
    </dgm:pt>
    <dgm:pt modelId="{9A4A2F7D-E0BA-4AC1-B638-19C7207ECEEE}" type="parTrans" cxnId="{695BEA5A-4B01-4075-B71E-E4353F95FE71}">
      <dgm:prSet/>
      <dgm:spPr/>
      <dgm:t>
        <a:bodyPr/>
        <a:lstStyle/>
        <a:p>
          <a:endParaRPr lang="en-US"/>
        </a:p>
      </dgm:t>
    </dgm:pt>
    <dgm:pt modelId="{225D4C56-0659-41A9-AB95-219DB3E4BFB8}" type="sibTrans" cxnId="{695BEA5A-4B01-4075-B71E-E4353F95FE71}">
      <dgm:prSet/>
      <dgm:spPr/>
      <dgm:t>
        <a:bodyPr/>
        <a:lstStyle/>
        <a:p>
          <a:endParaRPr lang="en-US"/>
        </a:p>
      </dgm:t>
    </dgm:pt>
    <dgm:pt modelId="{67D3527B-10B2-41F5-B7AB-BF82D946F313}" type="pres">
      <dgm:prSet presAssocID="{33F85593-57C3-40F8-8342-7AFBB93F9BC3}" presName="Name0" presStyleCnt="0">
        <dgm:presLayoutVars>
          <dgm:dir/>
          <dgm:animLvl val="lvl"/>
          <dgm:resizeHandles val="exact"/>
        </dgm:presLayoutVars>
      </dgm:prSet>
      <dgm:spPr/>
    </dgm:pt>
    <dgm:pt modelId="{4BEE8848-8CF4-4793-8DF6-B32F5E68A826}" type="pres">
      <dgm:prSet presAssocID="{C4B74633-6284-4247-8368-2A82DC14C91B}" presName="composite" presStyleCnt="0"/>
      <dgm:spPr/>
    </dgm:pt>
    <dgm:pt modelId="{DC24794B-3E4D-49A5-9802-3FDD49AD4833}" type="pres">
      <dgm:prSet presAssocID="{C4B74633-6284-4247-8368-2A82DC14C91B}" presName="parTx" presStyleLbl="alignNode1" presStyleIdx="0" presStyleCnt="4">
        <dgm:presLayoutVars>
          <dgm:chMax val="0"/>
          <dgm:chPref val="0"/>
          <dgm:bulletEnabled val="1"/>
        </dgm:presLayoutVars>
      </dgm:prSet>
      <dgm:spPr/>
    </dgm:pt>
    <dgm:pt modelId="{692384E3-A670-4ABB-966E-890EA55F6275}" type="pres">
      <dgm:prSet presAssocID="{C4B74633-6284-4247-8368-2A82DC14C91B}" presName="desTx" presStyleLbl="alignAccFollowNode1" presStyleIdx="0" presStyleCnt="4">
        <dgm:presLayoutVars>
          <dgm:bulletEnabled val="1"/>
        </dgm:presLayoutVars>
      </dgm:prSet>
      <dgm:spPr/>
    </dgm:pt>
    <dgm:pt modelId="{5AA4974C-9160-4E5C-A59E-AE81031BD6EC}" type="pres">
      <dgm:prSet presAssocID="{5C29EB94-E6B7-438D-8002-BF61894FECB3}" presName="space" presStyleCnt="0"/>
      <dgm:spPr/>
    </dgm:pt>
    <dgm:pt modelId="{11E953BB-8E0C-449B-A289-604841A324A4}" type="pres">
      <dgm:prSet presAssocID="{81D96F4F-D7EC-4739-BF6E-87346EA8B2D5}" presName="composite" presStyleCnt="0"/>
      <dgm:spPr/>
    </dgm:pt>
    <dgm:pt modelId="{49DF05AA-5F25-4000-9F09-8DCC5484F4DF}" type="pres">
      <dgm:prSet presAssocID="{81D96F4F-D7EC-4739-BF6E-87346EA8B2D5}" presName="parTx" presStyleLbl="alignNode1" presStyleIdx="1" presStyleCnt="4">
        <dgm:presLayoutVars>
          <dgm:chMax val="0"/>
          <dgm:chPref val="0"/>
          <dgm:bulletEnabled val="1"/>
        </dgm:presLayoutVars>
      </dgm:prSet>
      <dgm:spPr/>
    </dgm:pt>
    <dgm:pt modelId="{BC544579-0BC5-4301-AA18-F0F341407B87}" type="pres">
      <dgm:prSet presAssocID="{81D96F4F-D7EC-4739-BF6E-87346EA8B2D5}" presName="desTx" presStyleLbl="alignAccFollowNode1" presStyleIdx="1" presStyleCnt="4">
        <dgm:presLayoutVars>
          <dgm:bulletEnabled val="1"/>
        </dgm:presLayoutVars>
      </dgm:prSet>
      <dgm:spPr/>
    </dgm:pt>
    <dgm:pt modelId="{BF005B85-844B-45B6-8AE0-9C4FBF0EBE3A}" type="pres">
      <dgm:prSet presAssocID="{A718AD11-1926-450D-A717-B61AFFCAA378}" presName="space" presStyleCnt="0"/>
      <dgm:spPr/>
    </dgm:pt>
    <dgm:pt modelId="{D738B23B-373D-47D6-9BAE-3CCBA081EC00}" type="pres">
      <dgm:prSet presAssocID="{2C0329F2-1669-4473-89A3-6C04A73A6EE1}" presName="composite" presStyleCnt="0"/>
      <dgm:spPr/>
    </dgm:pt>
    <dgm:pt modelId="{1D63FA16-3735-498C-9B05-F128A7CD58DC}" type="pres">
      <dgm:prSet presAssocID="{2C0329F2-1669-4473-89A3-6C04A73A6EE1}" presName="parTx" presStyleLbl="alignNode1" presStyleIdx="2" presStyleCnt="4">
        <dgm:presLayoutVars>
          <dgm:chMax val="0"/>
          <dgm:chPref val="0"/>
          <dgm:bulletEnabled val="1"/>
        </dgm:presLayoutVars>
      </dgm:prSet>
      <dgm:spPr/>
    </dgm:pt>
    <dgm:pt modelId="{987B902B-F277-421C-BE02-7F35A336CBAE}" type="pres">
      <dgm:prSet presAssocID="{2C0329F2-1669-4473-89A3-6C04A73A6EE1}" presName="desTx" presStyleLbl="alignAccFollowNode1" presStyleIdx="2" presStyleCnt="4">
        <dgm:presLayoutVars>
          <dgm:bulletEnabled val="1"/>
        </dgm:presLayoutVars>
      </dgm:prSet>
      <dgm:spPr/>
    </dgm:pt>
    <dgm:pt modelId="{3B844AE6-54CF-4DB0-A954-E507D770A822}" type="pres">
      <dgm:prSet presAssocID="{3B143A12-4CCA-4BAC-B489-077B5C39164B}" presName="space" presStyleCnt="0"/>
      <dgm:spPr/>
    </dgm:pt>
    <dgm:pt modelId="{350BF707-06E2-4258-8480-790AFFDEBD1F}" type="pres">
      <dgm:prSet presAssocID="{AF4D19B7-1AFF-428D-A00B-20249EED3EA2}" presName="composite" presStyleCnt="0"/>
      <dgm:spPr/>
    </dgm:pt>
    <dgm:pt modelId="{A1B832A2-484A-4A54-B410-9FEFA46DEBBC}" type="pres">
      <dgm:prSet presAssocID="{AF4D19B7-1AFF-428D-A00B-20249EED3EA2}" presName="parTx" presStyleLbl="alignNode1" presStyleIdx="3" presStyleCnt="4">
        <dgm:presLayoutVars>
          <dgm:chMax val="0"/>
          <dgm:chPref val="0"/>
          <dgm:bulletEnabled val="1"/>
        </dgm:presLayoutVars>
      </dgm:prSet>
      <dgm:spPr/>
    </dgm:pt>
    <dgm:pt modelId="{8AE9F398-0D24-4499-AAA5-821316E97008}" type="pres">
      <dgm:prSet presAssocID="{AF4D19B7-1AFF-428D-A00B-20249EED3EA2}" presName="desTx" presStyleLbl="alignAccFollowNode1" presStyleIdx="3" presStyleCnt="4">
        <dgm:presLayoutVars>
          <dgm:bulletEnabled val="1"/>
        </dgm:presLayoutVars>
      </dgm:prSet>
      <dgm:spPr/>
    </dgm:pt>
  </dgm:ptLst>
  <dgm:cxnLst>
    <dgm:cxn modelId="{EDD30110-AF48-4CA7-A965-8A45FA45B153}" type="presOf" srcId="{7D8F7768-03F3-4934-917A-04717D94DFE8}" destId="{BC544579-0BC5-4301-AA18-F0F341407B87}" srcOrd="0" destOrd="1" presId="urn:microsoft.com/office/officeart/2005/8/layout/hList1"/>
    <dgm:cxn modelId="{89B94312-664A-4615-9639-78E8CB1D595C}" srcId="{AF4D19B7-1AFF-428D-A00B-20249EED3EA2}" destId="{F9C764F7-8271-465D-B636-6B8007DB7CCD}" srcOrd="0" destOrd="0" parTransId="{83F9E006-C48C-428B-92B6-259B598CA916}" sibTransId="{175D3612-6975-4F4D-BB03-08B5186C02C6}"/>
    <dgm:cxn modelId="{63694C15-0E9C-4F59-8556-3BB3188A7BB8}" type="presOf" srcId="{5CDFF824-8B0D-41EC-A895-ECC1EB3D536F}" destId="{987B902B-F277-421C-BE02-7F35A336CBAE}" srcOrd="0" destOrd="1" presId="urn:microsoft.com/office/officeart/2005/8/layout/hList1"/>
    <dgm:cxn modelId="{0F65CC24-5842-4C81-BFD3-B736E56EE296}" srcId="{2C0329F2-1669-4473-89A3-6C04A73A6EE1}" destId="{8B258E8A-73A4-466C-B044-1E3C02411420}" srcOrd="0" destOrd="0" parTransId="{359CDC7C-6D96-44D6-940D-5A9C11881548}" sibTransId="{B73722FB-BD18-4612-B7E7-C2B9249BBE54}"/>
    <dgm:cxn modelId="{9D51E428-0C20-459B-B703-C8082070E4D2}" type="presOf" srcId="{34675722-7C59-4704-9290-7A039D363E46}" destId="{BC544579-0BC5-4301-AA18-F0F341407B87}" srcOrd="0" destOrd="0" presId="urn:microsoft.com/office/officeart/2005/8/layout/hList1"/>
    <dgm:cxn modelId="{146AD95E-C730-471F-A592-1CBF07B5215F}" srcId="{C4B74633-6284-4247-8368-2A82DC14C91B}" destId="{F7027B85-1BC6-4761-93EB-DB061EF1BEEB}" srcOrd="0" destOrd="0" parTransId="{1808F256-0DD6-4986-B3BD-94F4F0C7E037}" sibTransId="{C23743E0-7E97-443C-8549-E6965B314366}"/>
    <dgm:cxn modelId="{00BFC064-FFBA-4D9E-A2C8-C3ECC8982B72}" type="presOf" srcId="{A48E72F0-225F-4DFC-AA8C-D0D11F0BAFA5}" destId="{BC544579-0BC5-4301-AA18-F0F341407B87}" srcOrd="0" destOrd="2" presId="urn:microsoft.com/office/officeart/2005/8/layout/hList1"/>
    <dgm:cxn modelId="{7F94D544-442E-4308-8DF6-42A9566CD83B}" srcId="{81D96F4F-D7EC-4739-BF6E-87346EA8B2D5}" destId="{7D8F7768-03F3-4934-917A-04717D94DFE8}" srcOrd="1" destOrd="0" parTransId="{E59C9239-4253-4922-BC05-767C89651BA4}" sibTransId="{3307DCFA-7692-4D46-9B73-8D7177C8445D}"/>
    <dgm:cxn modelId="{C9C35567-8C8D-47AF-A9A9-977FF6AC3415}" srcId="{C4B74633-6284-4247-8368-2A82DC14C91B}" destId="{6281B763-8F95-4BAF-BFE7-5B1A18834699}" srcOrd="1" destOrd="0" parTransId="{21ABE8D6-8171-45C5-A7A9-A364B5D55D13}" sibTransId="{96FC877F-3756-42B6-8D59-559E67C2858C}"/>
    <dgm:cxn modelId="{43B1BF4D-A92B-4752-82D1-E5C012226FB7}" type="presOf" srcId="{C4B74633-6284-4247-8368-2A82DC14C91B}" destId="{DC24794B-3E4D-49A5-9802-3FDD49AD4833}" srcOrd="0" destOrd="0" presId="urn:microsoft.com/office/officeart/2005/8/layout/hList1"/>
    <dgm:cxn modelId="{FD05E270-885C-403A-8F3B-069D9DED6E79}" type="presOf" srcId="{2C0329F2-1669-4473-89A3-6C04A73A6EE1}" destId="{1D63FA16-3735-498C-9B05-F128A7CD58DC}" srcOrd="0" destOrd="0" presId="urn:microsoft.com/office/officeart/2005/8/layout/hList1"/>
    <dgm:cxn modelId="{486F5671-018F-472B-B5B3-8D789A8E9F52}" type="presOf" srcId="{81D96F4F-D7EC-4739-BF6E-87346EA8B2D5}" destId="{49DF05AA-5F25-4000-9F09-8DCC5484F4DF}" srcOrd="0" destOrd="0" presId="urn:microsoft.com/office/officeart/2005/8/layout/hList1"/>
    <dgm:cxn modelId="{DE7F5754-2E40-49B8-886D-CA9925C6C0BB}" srcId="{81D96F4F-D7EC-4739-BF6E-87346EA8B2D5}" destId="{34675722-7C59-4704-9290-7A039D363E46}" srcOrd="0" destOrd="0" parTransId="{FE8F446E-C96F-4D37-A76B-040791962DFC}" sibTransId="{121CE28E-92C2-415C-B04C-8EEC6609FF6F}"/>
    <dgm:cxn modelId="{BA27FB59-DFB0-4203-836D-CE59FC073887}" srcId="{33F85593-57C3-40F8-8342-7AFBB93F9BC3}" destId="{81D96F4F-D7EC-4739-BF6E-87346EA8B2D5}" srcOrd="1" destOrd="0" parTransId="{23C17D59-967F-440E-90F5-F2D7D12E3779}" sibTransId="{A718AD11-1926-450D-A717-B61AFFCAA378}"/>
    <dgm:cxn modelId="{695BEA5A-4B01-4075-B71E-E4353F95FE71}" srcId="{AF4D19B7-1AFF-428D-A00B-20249EED3EA2}" destId="{E6F1BF31-AAAF-4384-A0D5-6CEF18705545}" srcOrd="1" destOrd="0" parTransId="{9A4A2F7D-E0BA-4AC1-B638-19C7207ECEEE}" sibTransId="{225D4C56-0659-41A9-AB95-219DB3E4BFB8}"/>
    <dgm:cxn modelId="{BED89897-9FC1-4441-80EB-DB3DA34D926C}" srcId="{2C0329F2-1669-4473-89A3-6C04A73A6EE1}" destId="{5CDFF824-8B0D-41EC-A895-ECC1EB3D536F}" srcOrd="1" destOrd="0" parTransId="{D63D7654-1ED6-41AB-A0D0-F93D88654505}" sibTransId="{1C4A0C3B-802E-45A3-BE2B-BB5EE39D50E5}"/>
    <dgm:cxn modelId="{2C81B0A1-F3CE-418C-AF0E-CB7FB7C7A412}" srcId="{33F85593-57C3-40F8-8342-7AFBB93F9BC3}" destId="{C4B74633-6284-4247-8368-2A82DC14C91B}" srcOrd="0" destOrd="0" parTransId="{2610BBFE-1F2A-4D1B-AE8F-C4AEED1D2286}" sibTransId="{5C29EB94-E6B7-438D-8002-BF61894FECB3}"/>
    <dgm:cxn modelId="{7DF91BB4-251E-49D2-A126-EF60CAD59D38}" srcId="{33F85593-57C3-40F8-8342-7AFBB93F9BC3}" destId="{AF4D19B7-1AFF-428D-A00B-20249EED3EA2}" srcOrd="3" destOrd="0" parTransId="{2FC2D696-169E-4421-9A4B-FB418E8E809A}" sibTransId="{87BC6EF8-2763-4EF2-9CF1-28AA26F46209}"/>
    <dgm:cxn modelId="{2635F2BB-C6EB-4D61-A090-357B14DACAAF}" type="presOf" srcId="{F7027B85-1BC6-4761-93EB-DB061EF1BEEB}" destId="{692384E3-A670-4ABB-966E-890EA55F6275}" srcOrd="0" destOrd="0" presId="urn:microsoft.com/office/officeart/2005/8/layout/hList1"/>
    <dgm:cxn modelId="{17BC56CD-1DBD-4F51-A5E6-8D63C77BF6B7}" srcId="{33F85593-57C3-40F8-8342-7AFBB93F9BC3}" destId="{2C0329F2-1669-4473-89A3-6C04A73A6EE1}" srcOrd="2" destOrd="0" parTransId="{F33FDC8E-FA63-43BF-8F02-D9A103ADC19C}" sibTransId="{3B143A12-4CCA-4BAC-B489-077B5C39164B}"/>
    <dgm:cxn modelId="{42502DD0-47E5-47FF-99DF-E7D76C0D2050}" srcId="{81D96F4F-D7EC-4739-BF6E-87346EA8B2D5}" destId="{A48E72F0-225F-4DFC-AA8C-D0D11F0BAFA5}" srcOrd="2" destOrd="0" parTransId="{80D53F7E-A81E-4023-83DF-A1613382F417}" sibTransId="{5C6E6972-394D-4D9D-A26F-0C2CEBAE9750}"/>
    <dgm:cxn modelId="{5F3062D4-4F8C-422A-AAA5-44C2370E0399}" type="presOf" srcId="{8B258E8A-73A4-466C-B044-1E3C02411420}" destId="{987B902B-F277-421C-BE02-7F35A336CBAE}" srcOrd="0" destOrd="0" presId="urn:microsoft.com/office/officeart/2005/8/layout/hList1"/>
    <dgm:cxn modelId="{2A136DD4-40B5-4326-9081-3A3D2013E376}" type="presOf" srcId="{AF4D19B7-1AFF-428D-A00B-20249EED3EA2}" destId="{A1B832A2-484A-4A54-B410-9FEFA46DEBBC}" srcOrd="0" destOrd="0" presId="urn:microsoft.com/office/officeart/2005/8/layout/hList1"/>
    <dgm:cxn modelId="{B02533E2-43E7-4682-9DA2-1378F96B98F7}" type="presOf" srcId="{E6F1BF31-AAAF-4384-A0D5-6CEF18705545}" destId="{8AE9F398-0D24-4499-AAA5-821316E97008}" srcOrd="0" destOrd="1" presId="urn:microsoft.com/office/officeart/2005/8/layout/hList1"/>
    <dgm:cxn modelId="{2357C6E7-10EC-4ECB-A700-3D6FD5BCAD72}" type="presOf" srcId="{33F85593-57C3-40F8-8342-7AFBB93F9BC3}" destId="{67D3527B-10B2-41F5-B7AB-BF82D946F313}" srcOrd="0" destOrd="0" presId="urn:microsoft.com/office/officeart/2005/8/layout/hList1"/>
    <dgm:cxn modelId="{04AD7AF8-37C4-4763-9E49-D10BEB9F9672}" type="presOf" srcId="{F9C764F7-8271-465D-B636-6B8007DB7CCD}" destId="{8AE9F398-0D24-4499-AAA5-821316E97008}" srcOrd="0" destOrd="0" presId="urn:microsoft.com/office/officeart/2005/8/layout/hList1"/>
    <dgm:cxn modelId="{ECD96BFC-861E-4B77-B464-FD7ABC438682}" type="presOf" srcId="{6281B763-8F95-4BAF-BFE7-5B1A18834699}" destId="{692384E3-A670-4ABB-966E-890EA55F6275}" srcOrd="0" destOrd="1" presId="urn:microsoft.com/office/officeart/2005/8/layout/hList1"/>
    <dgm:cxn modelId="{1C0CAD7D-0023-4D8D-8A37-0463D09D6800}" type="presParOf" srcId="{67D3527B-10B2-41F5-B7AB-BF82D946F313}" destId="{4BEE8848-8CF4-4793-8DF6-B32F5E68A826}" srcOrd="0" destOrd="0" presId="urn:microsoft.com/office/officeart/2005/8/layout/hList1"/>
    <dgm:cxn modelId="{468CC144-0F5F-41FA-9652-97A14D229DC8}" type="presParOf" srcId="{4BEE8848-8CF4-4793-8DF6-B32F5E68A826}" destId="{DC24794B-3E4D-49A5-9802-3FDD49AD4833}" srcOrd="0" destOrd="0" presId="urn:microsoft.com/office/officeart/2005/8/layout/hList1"/>
    <dgm:cxn modelId="{3056091C-2D61-4B4C-8D0D-CD8A0A24B7D3}" type="presParOf" srcId="{4BEE8848-8CF4-4793-8DF6-B32F5E68A826}" destId="{692384E3-A670-4ABB-966E-890EA55F6275}" srcOrd="1" destOrd="0" presId="urn:microsoft.com/office/officeart/2005/8/layout/hList1"/>
    <dgm:cxn modelId="{3E6E3B30-6FB0-4E0D-970A-827D7F52AA75}" type="presParOf" srcId="{67D3527B-10B2-41F5-B7AB-BF82D946F313}" destId="{5AA4974C-9160-4E5C-A59E-AE81031BD6EC}" srcOrd="1" destOrd="0" presId="urn:microsoft.com/office/officeart/2005/8/layout/hList1"/>
    <dgm:cxn modelId="{96CE66C4-3D4E-4390-890B-67A18E822DE9}" type="presParOf" srcId="{67D3527B-10B2-41F5-B7AB-BF82D946F313}" destId="{11E953BB-8E0C-449B-A289-604841A324A4}" srcOrd="2" destOrd="0" presId="urn:microsoft.com/office/officeart/2005/8/layout/hList1"/>
    <dgm:cxn modelId="{3033F7E0-1803-42FA-8D33-5A39AD5711F1}" type="presParOf" srcId="{11E953BB-8E0C-449B-A289-604841A324A4}" destId="{49DF05AA-5F25-4000-9F09-8DCC5484F4DF}" srcOrd="0" destOrd="0" presId="urn:microsoft.com/office/officeart/2005/8/layout/hList1"/>
    <dgm:cxn modelId="{8A1E0AF2-EE7A-4EDA-99A2-30DE0C1DDE81}" type="presParOf" srcId="{11E953BB-8E0C-449B-A289-604841A324A4}" destId="{BC544579-0BC5-4301-AA18-F0F341407B87}" srcOrd="1" destOrd="0" presId="urn:microsoft.com/office/officeart/2005/8/layout/hList1"/>
    <dgm:cxn modelId="{0BC19693-09F1-43ED-903E-6464CB87953D}" type="presParOf" srcId="{67D3527B-10B2-41F5-B7AB-BF82D946F313}" destId="{BF005B85-844B-45B6-8AE0-9C4FBF0EBE3A}" srcOrd="3" destOrd="0" presId="urn:microsoft.com/office/officeart/2005/8/layout/hList1"/>
    <dgm:cxn modelId="{8BBABA48-8BDB-4ABA-BDE2-33D9B6E26763}" type="presParOf" srcId="{67D3527B-10B2-41F5-B7AB-BF82D946F313}" destId="{D738B23B-373D-47D6-9BAE-3CCBA081EC00}" srcOrd="4" destOrd="0" presId="urn:microsoft.com/office/officeart/2005/8/layout/hList1"/>
    <dgm:cxn modelId="{A47F833A-B9D2-4305-A00B-5F1D42449C6A}" type="presParOf" srcId="{D738B23B-373D-47D6-9BAE-3CCBA081EC00}" destId="{1D63FA16-3735-498C-9B05-F128A7CD58DC}" srcOrd="0" destOrd="0" presId="urn:microsoft.com/office/officeart/2005/8/layout/hList1"/>
    <dgm:cxn modelId="{99D35CDE-F7FF-495C-8A24-8722E0343FBB}" type="presParOf" srcId="{D738B23B-373D-47D6-9BAE-3CCBA081EC00}" destId="{987B902B-F277-421C-BE02-7F35A336CBAE}" srcOrd="1" destOrd="0" presId="urn:microsoft.com/office/officeart/2005/8/layout/hList1"/>
    <dgm:cxn modelId="{64A7C257-38B0-47C2-B538-BED2BECB8359}" type="presParOf" srcId="{67D3527B-10B2-41F5-B7AB-BF82D946F313}" destId="{3B844AE6-54CF-4DB0-A954-E507D770A822}" srcOrd="5" destOrd="0" presId="urn:microsoft.com/office/officeart/2005/8/layout/hList1"/>
    <dgm:cxn modelId="{74519784-86DE-43CD-8D96-838878E35151}" type="presParOf" srcId="{67D3527B-10B2-41F5-B7AB-BF82D946F313}" destId="{350BF707-06E2-4258-8480-790AFFDEBD1F}" srcOrd="6" destOrd="0" presId="urn:microsoft.com/office/officeart/2005/8/layout/hList1"/>
    <dgm:cxn modelId="{798F5A9B-4BC3-4862-80BC-6855344B75EC}" type="presParOf" srcId="{350BF707-06E2-4258-8480-790AFFDEBD1F}" destId="{A1B832A2-484A-4A54-B410-9FEFA46DEBBC}" srcOrd="0" destOrd="0" presId="urn:microsoft.com/office/officeart/2005/8/layout/hList1"/>
    <dgm:cxn modelId="{083AD1D4-764B-4E5B-91A8-736B7CF48053}" type="presParOf" srcId="{350BF707-06E2-4258-8480-790AFFDEBD1F}" destId="{8AE9F398-0D24-4499-AAA5-821316E970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6031536"/>
              <a:satOff val="27236"/>
              <a:lumOff val="85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8CB167-03AF-4887-8026-86E2309610B7}">
      <dsp:nvSpPr>
        <dsp:cNvPr id="0" name=""/>
        <dsp:cNvSpPr/>
      </dsp:nvSpPr>
      <dsp:spPr>
        <a:xfrm>
          <a:off x="0" y="32322"/>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a:t>Sequence in which the source tables are accessed.</a:t>
          </a:r>
          <a:endParaRPr lang="en-US" sz="3000" kern="1200" dirty="0"/>
        </a:p>
      </dsp:txBody>
      <dsp:txXfrm>
        <a:off x="37696" y="70018"/>
        <a:ext cx="11079972" cy="696808"/>
      </dsp:txXfrm>
    </dsp:sp>
    <dsp:sp modelId="{1BF1DD65-B7B5-4756-B381-D847D027B224}">
      <dsp:nvSpPr>
        <dsp:cNvPr id="0" name=""/>
        <dsp:cNvSpPr/>
      </dsp:nvSpPr>
      <dsp:spPr>
        <a:xfrm>
          <a:off x="0" y="890922"/>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Methods used to extract data from each table.</a:t>
          </a:r>
          <a:endParaRPr lang="en-US" sz="3000" kern="1200" dirty="0"/>
        </a:p>
      </dsp:txBody>
      <dsp:txXfrm>
        <a:off x="37696" y="928618"/>
        <a:ext cx="11079972" cy="696808"/>
      </dsp:txXfrm>
    </dsp:sp>
    <dsp:sp modelId="{E2B42D5B-6516-495F-8411-9442A5C6E88C}">
      <dsp:nvSpPr>
        <dsp:cNvPr id="0" name=""/>
        <dsp:cNvSpPr/>
      </dsp:nvSpPr>
      <dsp:spPr>
        <a:xfrm>
          <a:off x="0" y="1749522"/>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How data is joined</a:t>
          </a:r>
          <a:endParaRPr lang="en-US" sz="3000" kern="1200" dirty="0"/>
        </a:p>
      </dsp:txBody>
      <dsp:txXfrm>
        <a:off x="37696" y="1787218"/>
        <a:ext cx="11079972" cy="696808"/>
      </dsp:txXfrm>
    </dsp:sp>
    <dsp:sp modelId="{917DD80E-0FAD-4AFE-A87D-E4174719CD00}">
      <dsp:nvSpPr>
        <dsp:cNvPr id="0" name=""/>
        <dsp:cNvSpPr/>
      </dsp:nvSpPr>
      <dsp:spPr>
        <a:xfrm>
          <a:off x="0" y="2608122"/>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Use of temporary worktables and sorts</a:t>
          </a:r>
          <a:endParaRPr lang="en-US" sz="3000" kern="1200" dirty="0"/>
        </a:p>
      </dsp:txBody>
      <dsp:txXfrm>
        <a:off x="37696" y="2645818"/>
        <a:ext cx="11079972" cy="696808"/>
      </dsp:txXfrm>
    </dsp:sp>
    <dsp:sp modelId="{0E6CE36D-721F-4764-947B-14CCC6759F7D}">
      <dsp:nvSpPr>
        <dsp:cNvPr id="0" name=""/>
        <dsp:cNvSpPr/>
      </dsp:nvSpPr>
      <dsp:spPr>
        <a:xfrm>
          <a:off x="0" y="3466723"/>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Estimated rowcount, iterations, and costs from each operator</a:t>
          </a:r>
          <a:endParaRPr lang="en-US" sz="3000" kern="1200" dirty="0"/>
        </a:p>
      </dsp:txBody>
      <dsp:txXfrm>
        <a:off x="37696" y="3504419"/>
        <a:ext cx="11079972" cy="696808"/>
      </dsp:txXfrm>
    </dsp:sp>
    <dsp:sp modelId="{32B0EE26-375F-484C-AA91-7A1D4825F8FD}">
      <dsp:nvSpPr>
        <dsp:cNvPr id="0" name=""/>
        <dsp:cNvSpPr/>
      </dsp:nvSpPr>
      <dsp:spPr>
        <a:xfrm>
          <a:off x="0" y="4325323"/>
          <a:ext cx="11155364"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Actual rowcount and iterations</a:t>
          </a:r>
          <a:endParaRPr lang="en-US" sz="3000" kern="1200" dirty="0"/>
        </a:p>
      </dsp:txBody>
      <dsp:txXfrm>
        <a:off x="37696" y="4363019"/>
        <a:ext cx="11079972" cy="69680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78F1C-23D9-4408-8BAF-D0814A8EA46B}">
      <dsp:nvSpPr>
        <dsp:cNvPr id="0" name=""/>
        <dsp:cNvSpPr/>
      </dsp:nvSpPr>
      <dsp:spPr>
        <a:xfrm rot="5400000">
          <a:off x="7392879" y="-3247523"/>
          <a:ext cx="592797" cy="723696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 Information about possible issues with the plan</a:t>
          </a:r>
        </a:p>
      </dsp:txBody>
      <dsp:txXfrm rot="-5400000">
        <a:off x="4070794" y="103500"/>
        <a:ext cx="7208029" cy="534921"/>
      </dsp:txXfrm>
    </dsp:sp>
    <dsp:sp modelId="{84B7B9B8-CF17-4C9F-8E5B-C19D02201E58}">
      <dsp:nvSpPr>
        <dsp:cNvPr id="0" name=""/>
        <dsp:cNvSpPr/>
      </dsp:nvSpPr>
      <dsp:spPr>
        <a:xfrm>
          <a:off x="0" y="462"/>
          <a:ext cx="4070794" cy="74099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Warnings</a:t>
          </a:r>
        </a:p>
      </dsp:txBody>
      <dsp:txXfrm>
        <a:off x="36172" y="36634"/>
        <a:ext cx="3998450" cy="668652"/>
      </dsp:txXfrm>
    </dsp:sp>
    <dsp:sp modelId="{E1672FE1-D6F3-40C1-B1BB-A94F5F67BC23}">
      <dsp:nvSpPr>
        <dsp:cNvPr id="0" name=""/>
        <dsp:cNvSpPr/>
      </dsp:nvSpPr>
      <dsp:spPr>
        <a:xfrm rot="5400000">
          <a:off x="7392879" y="-2469476"/>
          <a:ext cx="592797" cy="7236967"/>
        </a:xfrm>
        <a:prstGeom prst="round2SameRect">
          <a:avLst/>
        </a:prstGeom>
        <a:solidFill>
          <a:schemeClr val="accent2">
            <a:tint val="40000"/>
            <a:alpha val="90000"/>
            <a:hueOff val="-2198822"/>
            <a:satOff val="8341"/>
            <a:lumOff val="958"/>
            <a:alphaOff val="0"/>
          </a:schemeClr>
        </a:solidFill>
        <a:ln w="12700" cap="flat" cmpd="sng" algn="ctr">
          <a:solidFill>
            <a:schemeClr val="accent2">
              <a:tint val="40000"/>
              <a:alpha val="90000"/>
              <a:hueOff val="-2198822"/>
              <a:satOff val="8341"/>
              <a:lumOff val="95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Overall </a:t>
          </a:r>
          <a:r>
            <a:rPr lang="en-US" sz="2000" kern="1200" dirty="0"/>
            <a:t>properties of the plan</a:t>
          </a:r>
        </a:p>
      </dsp:txBody>
      <dsp:txXfrm rot="-5400000">
        <a:off x="4070794" y="881547"/>
        <a:ext cx="7208029" cy="534921"/>
      </dsp:txXfrm>
    </dsp:sp>
    <dsp:sp modelId="{77D63B06-77E8-4D76-B956-6AA6BECB473F}">
      <dsp:nvSpPr>
        <dsp:cNvPr id="0" name=""/>
        <dsp:cNvSpPr/>
      </dsp:nvSpPr>
      <dsp:spPr>
        <a:xfrm>
          <a:off x="0" y="778508"/>
          <a:ext cx="4070794" cy="740996"/>
        </a:xfrm>
        <a:prstGeom prst="roundRect">
          <a:avLst/>
        </a:prstGeom>
        <a:solidFill>
          <a:schemeClr val="accent2">
            <a:hueOff val="-2010512"/>
            <a:satOff val="9079"/>
            <a:lumOff val="2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a:t>Top Left </a:t>
          </a:r>
          <a:r>
            <a:rPr lang="en-US" sz="2000" kern="1200" dirty="0"/>
            <a:t>Operator</a:t>
          </a:r>
        </a:p>
      </dsp:txBody>
      <dsp:txXfrm>
        <a:off x="36172" y="814680"/>
        <a:ext cx="3998450" cy="668652"/>
      </dsp:txXfrm>
    </dsp:sp>
    <dsp:sp modelId="{A6BB1FD6-985A-4294-B984-8BBE267C556F}">
      <dsp:nvSpPr>
        <dsp:cNvPr id="0" name=""/>
        <dsp:cNvSpPr/>
      </dsp:nvSpPr>
      <dsp:spPr>
        <a:xfrm rot="5400000">
          <a:off x="7392879" y="-1691430"/>
          <a:ext cx="592797" cy="7236967"/>
        </a:xfrm>
        <a:prstGeom prst="round2SameRect">
          <a:avLst/>
        </a:prstGeom>
        <a:solidFill>
          <a:schemeClr val="accent2">
            <a:tint val="40000"/>
            <a:alpha val="90000"/>
            <a:hueOff val="-4397645"/>
            <a:satOff val="16683"/>
            <a:lumOff val="1916"/>
            <a:alphaOff val="0"/>
          </a:schemeClr>
        </a:solidFill>
        <a:ln w="12700" cap="flat" cmpd="sng" algn="ctr">
          <a:solidFill>
            <a:schemeClr val="accent2">
              <a:tint val="40000"/>
              <a:alpha val="90000"/>
              <a:hueOff val="-4397645"/>
              <a:satOff val="16683"/>
              <a:lumOff val="191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ook from most expensive to least expensive </a:t>
          </a:r>
        </a:p>
      </dsp:txBody>
      <dsp:txXfrm rot="-5400000">
        <a:off x="4070794" y="1659593"/>
        <a:ext cx="7208029" cy="534921"/>
      </dsp:txXfrm>
    </dsp:sp>
    <dsp:sp modelId="{E44F4864-B4DA-478C-99B9-E2FC412EDD26}">
      <dsp:nvSpPr>
        <dsp:cNvPr id="0" name=""/>
        <dsp:cNvSpPr/>
      </dsp:nvSpPr>
      <dsp:spPr>
        <a:xfrm>
          <a:off x="0" y="1556555"/>
          <a:ext cx="4070794" cy="740996"/>
        </a:xfrm>
        <a:prstGeom prst="roundRect">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Expensive Operators</a:t>
          </a:r>
        </a:p>
      </dsp:txBody>
      <dsp:txXfrm>
        <a:off x="36172" y="1592727"/>
        <a:ext cx="3998450" cy="668652"/>
      </dsp:txXfrm>
    </dsp:sp>
    <dsp:sp modelId="{CE407802-79FE-4B31-9D8F-DA1959A708C8}">
      <dsp:nvSpPr>
        <dsp:cNvPr id="0" name=""/>
        <dsp:cNvSpPr/>
      </dsp:nvSpPr>
      <dsp:spPr>
        <a:xfrm rot="5400000">
          <a:off x="7392879" y="-913383"/>
          <a:ext cx="592797" cy="7236967"/>
        </a:xfrm>
        <a:prstGeom prst="round2SameRect">
          <a:avLst/>
        </a:prstGeom>
        <a:solidFill>
          <a:schemeClr val="accent2">
            <a:tint val="40000"/>
            <a:alpha val="90000"/>
            <a:hueOff val="-6596467"/>
            <a:satOff val="25024"/>
            <a:lumOff val="2874"/>
            <a:alphaOff val="0"/>
          </a:schemeClr>
        </a:solidFill>
        <a:ln w="12700" cap="flat" cmpd="sng" algn="ctr">
          <a:solidFill>
            <a:schemeClr val="accent2">
              <a:tint val="40000"/>
              <a:alpha val="90000"/>
              <a:hueOff val="-6596467"/>
              <a:satOff val="25024"/>
              <a:lumOff val="287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hicker arrows mean more data is being passed</a:t>
          </a:r>
        </a:p>
      </dsp:txBody>
      <dsp:txXfrm rot="-5400000">
        <a:off x="4070794" y="2437640"/>
        <a:ext cx="7208029" cy="534921"/>
      </dsp:txXfrm>
    </dsp:sp>
    <dsp:sp modelId="{BC4526AF-2EAB-4E8A-A353-77D12FAC2F15}">
      <dsp:nvSpPr>
        <dsp:cNvPr id="0" name=""/>
        <dsp:cNvSpPr/>
      </dsp:nvSpPr>
      <dsp:spPr>
        <a:xfrm>
          <a:off x="0" y="2334601"/>
          <a:ext cx="4070794" cy="740996"/>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Data Flow Statistics</a:t>
          </a:r>
        </a:p>
      </dsp:txBody>
      <dsp:txXfrm>
        <a:off x="36172" y="2370773"/>
        <a:ext cx="3998450" cy="668652"/>
      </dsp:txXfrm>
    </dsp:sp>
    <dsp:sp modelId="{49483BC9-7EBB-4B07-84C4-29A8C81CE3A2}">
      <dsp:nvSpPr>
        <dsp:cNvPr id="0" name=""/>
        <dsp:cNvSpPr/>
      </dsp:nvSpPr>
      <dsp:spPr>
        <a:xfrm rot="5400000">
          <a:off x="7392879" y="-135337"/>
          <a:ext cx="592797" cy="7236967"/>
        </a:xfrm>
        <a:prstGeom prst="round2SameRect">
          <a:avLst/>
        </a:prstGeom>
        <a:solidFill>
          <a:schemeClr val="accent2">
            <a:tint val="40000"/>
            <a:alpha val="90000"/>
            <a:hueOff val="-8795289"/>
            <a:satOff val="33365"/>
            <a:lumOff val="3832"/>
            <a:alphaOff val="0"/>
          </a:schemeClr>
        </a:solidFill>
        <a:ln w="12700" cap="flat" cmpd="sng" algn="ctr">
          <a:solidFill>
            <a:schemeClr val="accent2">
              <a:tint val="40000"/>
              <a:alpha val="90000"/>
              <a:hueOff val="-8795289"/>
              <a:satOff val="33365"/>
              <a:lumOff val="383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Possible </a:t>
          </a:r>
          <a:r>
            <a:rPr lang="en-US" sz="2000" kern="1200" dirty="0"/>
            <a:t>to create index that covers query</a:t>
          </a:r>
        </a:p>
      </dsp:txBody>
      <dsp:txXfrm rot="-5400000">
        <a:off x="4070794" y="3215686"/>
        <a:ext cx="7208029" cy="534921"/>
      </dsp:txXfrm>
    </dsp:sp>
    <dsp:sp modelId="{63A621D9-7E51-488D-A87F-C91AEC1D1623}">
      <dsp:nvSpPr>
        <dsp:cNvPr id="0" name=""/>
        <dsp:cNvSpPr/>
      </dsp:nvSpPr>
      <dsp:spPr>
        <a:xfrm>
          <a:off x="0" y="3112648"/>
          <a:ext cx="4070794" cy="740996"/>
        </a:xfrm>
        <a:prstGeom prst="roundRect">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Nested Loop Operator</a:t>
          </a:r>
        </a:p>
      </dsp:txBody>
      <dsp:txXfrm>
        <a:off x="36172" y="3148820"/>
        <a:ext cx="3998450" cy="668652"/>
      </dsp:txXfrm>
    </dsp:sp>
    <dsp:sp modelId="{A63DC958-F01E-461D-9803-CE9D682108D1}">
      <dsp:nvSpPr>
        <dsp:cNvPr id="0" name=""/>
        <dsp:cNvSpPr/>
      </dsp:nvSpPr>
      <dsp:spPr>
        <a:xfrm rot="5400000">
          <a:off x="7392879" y="642709"/>
          <a:ext cx="592797" cy="7236967"/>
        </a:xfrm>
        <a:prstGeom prst="round2SameRect">
          <a:avLst/>
        </a:prstGeom>
        <a:solidFill>
          <a:schemeClr val="accent2">
            <a:tint val="40000"/>
            <a:alpha val="90000"/>
            <a:hueOff val="-10994111"/>
            <a:satOff val="41707"/>
            <a:lumOff val="4790"/>
            <a:alphaOff val="0"/>
          </a:schemeClr>
        </a:solidFill>
        <a:ln w="12700" cap="flat" cmpd="sng" algn="ctr">
          <a:solidFill>
            <a:schemeClr val="accent2">
              <a:tint val="40000"/>
              <a:alpha val="90000"/>
              <a:hueOff val="-10994111"/>
              <a:satOff val="41707"/>
              <a:lumOff val="479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ot necessarily bad, but could indicate I/O issues</a:t>
          </a:r>
        </a:p>
      </dsp:txBody>
      <dsp:txXfrm rot="-5400000">
        <a:off x="4070794" y="3993732"/>
        <a:ext cx="7208029" cy="534921"/>
      </dsp:txXfrm>
    </dsp:sp>
    <dsp:sp modelId="{A4268063-F919-45C8-96D6-E0469ED8C6E7}">
      <dsp:nvSpPr>
        <dsp:cNvPr id="0" name=""/>
        <dsp:cNvSpPr/>
      </dsp:nvSpPr>
      <dsp:spPr>
        <a:xfrm>
          <a:off x="0" y="3890694"/>
          <a:ext cx="4070794" cy="740996"/>
        </a:xfrm>
        <a:prstGeom prst="roundRect">
          <a:avLst/>
        </a:prstGeom>
        <a:solidFill>
          <a:schemeClr val="accent2">
            <a:hueOff val="-10052560"/>
            <a:satOff val="45393"/>
            <a:lumOff val="142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cans vs Seeks</a:t>
          </a:r>
        </a:p>
      </dsp:txBody>
      <dsp:txXfrm>
        <a:off x="36172" y="3926866"/>
        <a:ext cx="3998450" cy="668652"/>
      </dsp:txXfrm>
    </dsp:sp>
    <dsp:sp modelId="{C44360D4-090F-4F2C-9A70-603F26F29860}">
      <dsp:nvSpPr>
        <dsp:cNvPr id="0" name=""/>
        <dsp:cNvSpPr/>
      </dsp:nvSpPr>
      <dsp:spPr>
        <a:xfrm rot="5400000">
          <a:off x="7392879" y="1420755"/>
          <a:ext cx="592797" cy="7236967"/>
        </a:xfrm>
        <a:prstGeom prst="round2SameRect">
          <a:avLst/>
        </a:prstGeom>
        <a:solidFill>
          <a:schemeClr val="accent2">
            <a:tint val="40000"/>
            <a:alpha val="90000"/>
            <a:hueOff val="-13192933"/>
            <a:satOff val="50048"/>
            <a:lumOff val="5748"/>
            <a:alphaOff val="0"/>
          </a:schemeClr>
        </a:solidFill>
        <a:ln w="12700" cap="flat" cmpd="sng" algn="ctr">
          <a:solidFill>
            <a:schemeClr val="accent2">
              <a:tint val="40000"/>
              <a:alpha val="90000"/>
              <a:hueOff val="-13192933"/>
              <a:satOff val="50048"/>
              <a:lumOff val="57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tatistics could be stale or invalid</a:t>
          </a:r>
        </a:p>
      </dsp:txBody>
      <dsp:txXfrm rot="-5400000">
        <a:off x="4070794" y="4771778"/>
        <a:ext cx="7208029" cy="534921"/>
      </dsp:txXfrm>
    </dsp:sp>
    <dsp:sp modelId="{4C024234-C58C-41AF-8E8E-9314898FF03F}">
      <dsp:nvSpPr>
        <dsp:cNvPr id="0" name=""/>
        <dsp:cNvSpPr/>
      </dsp:nvSpPr>
      <dsp:spPr>
        <a:xfrm>
          <a:off x="0" y="4668741"/>
          <a:ext cx="4070794" cy="740996"/>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kewed Estimates</a:t>
          </a:r>
        </a:p>
      </dsp:txBody>
      <dsp:txXfrm>
        <a:off x="36172" y="4704913"/>
        <a:ext cx="3998450" cy="66865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6E92AD-9646-49C6-92C6-7697F0FCEAC9}">
      <dsp:nvSpPr>
        <dsp:cNvPr id="0" name=""/>
        <dsp:cNvSpPr/>
      </dsp:nvSpPr>
      <dsp:spPr>
        <a:xfrm>
          <a:off x="4090" y="49614"/>
          <a:ext cx="2459851"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Is</a:t>
          </a:r>
        </a:p>
      </dsp:txBody>
      <dsp:txXfrm>
        <a:off x="4090" y="49614"/>
        <a:ext cx="2459851" cy="518400"/>
      </dsp:txXfrm>
    </dsp:sp>
    <dsp:sp modelId="{BB2CEDAA-7259-4B19-80BA-6AF2B9F9DB6A}">
      <dsp:nvSpPr>
        <dsp:cNvPr id="0" name=""/>
        <dsp:cNvSpPr/>
      </dsp:nvSpPr>
      <dsp:spPr>
        <a:xfrm>
          <a:off x="4090" y="568014"/>
          <a:ext cx="2459851" cy="278857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A pool of memory used to store query execution plans</a:t>
          </a:r>
          <a:endParaRPr lang="en-US" sz="1800" kern="1200" dirty="0"/>
        </a:p>
      </dsp:txBody>
      <dsp:txXfrm>
        <a:off x="4090" y="568014"/>
        <a:ext cx="2459851" cy="2788576"/>
      </dsp:txXfrm>
    </dsp:sp>
    <dsp:sp modelId="{14A07C91-1E8D-4C6D-B521-4E5A3EE74908}">
      <dsp:nvSpPr>
        <dsp:cNvPr id="0" name=""/>
        <dsp:cNvSpPr/>
      </dsp:nvSpPr>
      <dsp:spPr>
        <a:xfrm>
          <a:off x="2808321" y="49614"/>
          <a:ext cx="2459851"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Is used by</a:t>
          </a:r>
        </a:p>
      </dsp:txBody>
      <dsp:txXfrm>
        <a:off x="2808321" y="49614"/>
        <a:ext cx="2459851" cy="518400"/>
      </dsp:txXfrm>
    </dsp:sp>
    <dsp:sp modelId="{4E6BE486-DEA9-41D9-A616-79AFC943160D}">
      <dsp:nvSpPr>
        <dsp:cNvPr id="0" name=""/>
        <dsp:cNvSpPr/>
      </dsp:nvSpPr>
      <dsp:spPr>
        <a:xfrm>
          <a:off x="2808321" y="568014"/>
          <a:ext cx="2459851" cy="278857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All databases in a SQL Server instance</a:t>
          </a:r>
          <a:endParaRPr lang="en-US" sz="1800" kern="1200" dirty="0"/>
        </a:p>
      </dsp:txBody>
      <dsp:txXfrm>
        <a:off x="2808321" y="568014"/>
        <a:ext cx="2459851" cy="2788576"/>
      </dsp:txXfrm>
    </dsp:sp>
    <dsp:sp modelId="{531E5255-D132-4ED6-B6D8-A36324628C1C}">
      <dsp:nvSpPr>
        <dsp:cNvPr id="0" name=""/>
        <dsp:cNvSpPr/>
      </dsp:nvSpPr>
      <dsp:spPr>
        <a:xfrm>
          <a:off x="5612552" y="49614"/>
          <a:ext cx="2459851"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Exists to</a:t>
          </a:r>
        </a:p>
      </dsp:txBody>
      <dsp:txXfrm>
        <a:off x="5612552" y="49614"/>
        <a:ext cx="2459851" cy="518400"/>
      </dsp:txXfrm>
    </dsp:sp>
    <dsp:sp modelId="{40D302C0-C526-4F9E-878A-6B0C2ED4A7FD}">
      <dsp:nvSpPr>
        <dsp:cNvPr id="0" name=""/>
        <dsp:cNvSpPr/>
      </dsp:nvSpPr>
      <dsp:spPr>
        <a:xfrm>
          <a:off x="5612552" y="568014"/>
          <a:ext cx="2459851" cy="278857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Avoid repeated optimization and compilation</a:t>
          </a:r>
          <a:endParaRPr lang="en-US" sz="1800" kern="1200" dirty="0"/>
        </a:p>
        <a:p>
          <a:pPr marL="171450" lvl="1" indent="-171450" algn="l" defTabSz="800100">
            <a:lnSpc>
              <a:spcPct val="90000"/>
            </a:lnSpc>
            <a:spcBef>
              <a:spcPct val="0"/>
            </a:spcBef>
            <a:spcAft>
              <a:spcPct val="15000"/>
            </a:spcAft>
            <a:buChar char="•"/>
          </a:pPr>
          <a:r>
            <a:rPr lang="en-US" sz="1800" kern="1200" baseline="0" dirty="0"/>
            <a:t>Reuse of plans offers performance benefits, as Optimization and compilation costs time and CPU</a:t>
          </a:r>
          <a:endParaRPr lang="en-US" sz="1800" kern="1200" dirty="0"/>
        </a:p>
      </dsp:txBody>
      <dsp:txXfrm>
        <a:off x="5612552" y="568014"/>
        <a:ext cx="2459851" cy="2788576"/>
      </dsp:txXfrm>
    </dsp:sp>
    <dsp:sp modelId="{9AA1F88A-0D3D-44E3-B97D-F5C371BAAFDD}">
      <dsp:nvSpPr>
        <dsp:cNvPr id="0" name=""/>
        <dsp:cNvSpPr/>
      </dsp:nvSpPr>
      <dsp:spPr>
        <a:xfrm>
          <a:off x="8416783" y="49614"/>
          <a:ext cx="2459851"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ize and contents</a:t>
          </a:r>
        </a:p>
      </dsp:txBody>
      <dsp:txXfrm>
        <a:off x="8416783" y="49614"/>
        <a:ext cx="2459851" cy="518400"/>
      </dsp:txXfrm>
    </dsp:sp>
    <dsp:sp modelId="{36BF58D4-73A4-46FC-9420-8DEC30B32331}">
      <dsp:nvSpPr>
        <dsp:cNvPr id="0" name=""/>
        <dsp:cNvSpPr/>
      </dsp:nvSpPr>
      <dsp:spPr>
        <a:xfrm>
          <a:off x="8416783" y="568014"/>
          <a:ext cx="2459851" cy="2788576"/>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Vary over time</a:t>
          </a:r>
          <a:endParaRPr lang="en-US" sz="1800" kern="1200" dirty="0"/>
        </a:p>
        <a:p>
          <a:pPr marL="171450" lvl="1" indent="-171450" algn="l" defTabSz="800100">
            <a:lnSpc>
              <a:spcPct val="90000"/>
            </a:lnSpc>
            <a:spcBef>
              <a:spcPct val="0"/>
            </a:spcBef>
            <a:spcAft>
              <a:spcPct val="15000"/>
            </a:spcAft>
            <a:buChar char="•"/>
          </a:pPr>
          <a:r>
            <a:rPr lang="en-US" sz="1800" kern="1200" baseline="0" dirty="0"/>
            <a:t>Can grow (within limits) to hold more and/or larger plans</a:t>
          </a:r>
          <a:endParaRPr lang="en-US" sz="1800" kern="1200" dirty="0"/>
        </a:p>
        <a:p>
          <a:pPr marL="171450" lvl="1" indent="-171450" algn="l" defTabSz="800100">
            <a:lnSpc>
              <a:spcPct val="90000"/>
            </a:lnSpc>
            <a:spcBef>
              <a:spcPct val="0"/>
            </a:spcBef>
            <a:spcAft>
              <a:spcPct val="15000"/>
            </a:spcAft>
            <a:buChar char="•"/>
          </a:pPr>
          <a:r>
            <a:rPr lang="en-US" sz="1800" kern="1200" baseline="0" dirty="0"/>
            <a:t>Can shrink under memory pressure, by evicting plans</a:t>
          </a:r>
          <a:endParaRPr lang="en-US" sz="1800" kern="1200" dirty="0"/>
        </a:p>
      </dsp:txBody>
      <dsp:txXfrm>
        <a:off x="8416783" y="568014"/>
        <a:ext cx="2459851" cy="27885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E8114-12F3-469E-A27B-D86B1C6D839A}">
      <dsp:nvSpPr>
        <dsp:cNvPr id="0" name=""/>
        <dsp:cNvSpPr/>
      </dsp:nvSpPr>
      <dsp:spPr>
        <a:xfrm>
          <a:off x="4352290" y="1412"/>
          <a:ext cx="6528435" cy="1120192"/>
        </a:xfrm>
        <a:prstGeom prst="rightArrow">
          <a:avLst>
            <a:gd name="adj1" fmla="val 75000"/>
            <a:gd name="adj2" fmla="val 50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Plan type, size and handle</a:t>
          </a:r>
        </a:p>
      </dsp:txBody>
      <dsp:txXfrm>
        <a:off x="4352290" y="141436"/>
        <a:ext cx="6108363" cy="840144"/>
      </dsp:txXfrm>
    </dsp:sp>
    <dsp:sp modelId="{54391A25-D2D9-4355-B400-2D7370C7C8CE}">
      <dsp:nvSpPr>
        <dsp:cNvPr id="0" name=""/>
        <dsp:cNvSpPr/>
      </dsp:nvSpPr>
      <dsp:spPr>
        <a:xfrm>
          <a:off x="0" y="1412"/>
          <a:ext cx="4352290" cy="112019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cached_plans</a:t>
          </a:r>
          <a:endParaRPr lang="en-US" sz="2400" kern="1200" dirty="0"/>
        </a:p>
      </dsp:txBody>
      <dsp:txXfrm>
        <a:off x="54683" y="56095"/>
        <a:ext cx="4242924" cy="1010826"/>
      </dsp:txXfrm>
    </dsp:sp>
    <dsp:sp modelId="{DD3870A4-BF67-43F5-BD9C-EFCAFD36AF9C}">
      <dsp:nvSpPr>
        <dsp:cNvPr id="0" name=""/>
        <dsp:cNvSpPr/>
      </dsp:nvSpPr>
      <dsp:spPr>
        <a:xfrm>
          <a:off x="4352290" y="1233623"/>
          <a:ext cx="6528435" cy="1120192"/>
        </a:xfrm>
        <a:prstGeom prst="rightArrow">
          <a:avLst>
            <a:gd name="adj1" fmla="val 75000"/>
            <a:gd name="adj2" fmla="val 50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US" sz="2600" kern="1200" baseline="0" dirty="0"/>
            <a:t>Execution metrics for individual statements</a:t>
          </a:r>
          <a:endParaRPr lang="en-US" sz="2600" kern="1200" dirty="0"/>
        </a:p>
      </dsp:txBody>
      <dsp:txXfrm>
        <a:off x="4352290" y="1373647"/>
        <a:ext cx="6108363" cy="840144"/>
      </dsp:txXfrm>
    </dsp:sp>
    <dsp:sp modelId="{77C55A6C-86CD-46F6-A7BC-CD989BF29AD3}">
      <dsp:nvSpPr>
        <dsp:cNvPr id="0" name=""/>
        <dsp:cNvSpPr/>
      </dsp:nvSpPr>
      <dsp:spPr>
        <a:xfrm>
          <a:off x="0" y="1233623"/>
          <a:ext cx="4352290" cy="112019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stats</a:t>
          </a:r>
          <a:endParaRPr lang="en-US" sz="2400" kern="1200" dirty="0"/>
        </a:p>
      </dsp:txBody>
      <dsp:txXfrm>
        <a:off x="54683" y="1288306"/>
        <a:ext cx="4242924" cy="1010826"/>
      </dsp:txXfrm>
    </dsp:sp>
    <dsp:sp modelId="{1DC62910-F5B0-4E12-AD2C-26B51B70F214}">
      <dsp:nvSpPr>
        <dsp:cNvPr id="0" name=""/>
        <dsp:cNvSpPr/>
      </dsp:nvSpPr>
      <dsp:spPr>
        <a:xfrm>
          <a:off x="4352290" y="2465834"/>
          <a:ext cx="6528435" cy="1120192"/>
        </a:xfrm>
        <a:prstGeom prst="rightArrow">
          <a:avLst>
            <a:gd name="adj1" fmla="val 75000"/>
            <a:gd name="adj2" fmla="val 50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US" sz="2600" kern="1200" baseline="0" dirty="0"/>
            <a:t>Takes a plan_handle and returns the associated XML plan </a:t>
          </a:r>
          <a:endParaRPr lang="en-US" sz="2600" kern="1200" dirty="0"/>
        </a:p>
      </dsp:txBody>
      <dsp:txXfrm>
        <a:off x="4352290" y="2605858"/>
        <a:ext cx="6108363" cy="840144"/>
      </dsp:txXfrm>
    </dsp:sp>
    <dsp:sp modelId="{688B86EE-D10B-46C7-84F8-8C0C61F717C8}">
      <dsp:nvSpPr>
        <dsp:cNvPr id="0" name=""/>
        <dsp:cNvSpPr/>
      </dsp:nvSpPr>
      <dsp:spPr>
        <a:xfrm>
          <a:off x="0" y="2465834"/>
          <a:ext cx="4352290" cy="112019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plan()</a:t>
          </a:r>
          <a:endParaRPr lang="en-US" sz="2400" kern="1200" dirty="0"/>
        </a:p>
      </dsp:txBody>
      <dsp:txXfrm>
        <a:off x="54683" y="2520517"/>
        <a:ext cx="4242924" cy="1010826"/>
      </dsp:txXfrm>
    </dsp:sp>
    <dsp:sp modelId="{B61DEA13-FD87-4FB8-AB97-821EA9B9B040}">
      <dsp:nvSpPr>
        <dsp:cNvPr id="0" name=""/>
        <dsp:cNvSpPr/>
      </dsp:nvSpPr>
      <dsp:spPr>
        <a:xfrm>
          <a:off x="4352290" y="3698045"/>
          <a:ext cx="6528435" cy="1120192"/>
        </a:xfrm>
        <a:prstGeom prst="rightArrow">
          <a:avLst>
            <a:gd name="adj1" fmla="val 75000"/>
            <a:gd name="adj2" fmla="val 50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US" sz="2600" kern="1200" baseline="0" dirty="0"/>
            <a:t>Takes a plan_handle or sql_handle and returns the associated SQL batch</a:t>
          </a:r>
          <a:endParaRPr lang="en-US" sz="2600" kern="1200" dirty="0"/>
        </a:p>
      </dsp:txBody>
      <dsp:txXfrm>
        <a:off x="4352290" y="3838069"/>
        <a:ext cx="6108363" cy="840144"/>
      </dsp:txXfrm>
    </dsp:sp>
    <dsp:sp modelId="{19D55732-39F8-4659-9F37-B937D64447A3}">
      <dsp:nvSpPr>
        <dsp:cNvPr id="0" name=""/>
        <dsp:cNvSpPr/>
      </dsp:nvSpPr>
      <dsp:spPr>
        <a:xfrm>
          <a:off x="0" y="3698045"/>
          <a:ext cx="4352290" cy="112019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sql_text()</a:t>
          </a:r>
          <a:endParaRPr lang="en-US" sz="2400" kern="1200" dirty="0"/>
        </a:p>
      </dsp:txBody>
      <dsp:txXfrm>
        <a:off x="54683" y="3752728"/>
        <a:ext cx="4242924" cy="101082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FD43F-B116-44D8-A634-5BFAE6E1AA90}">
      <dsp:nvSpPr>
        <dsp:cNvPr id="0" name=""/>
        <dsp:cNvSpPr/>
      </dsp:nvSpPr>
      <dsp:spPr>
        <a:xfrm>
          <a:off x="0" y="117524"/>
          <a:ext cx="5284787" cy="4633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Execution count</a:t>
          </a:r>
          <a:endParaRPr lang="en-US" sz="1800" kern="1200" dirty="0"/>
        </a:p>
      </dsp:txBody>
      <dsp:txXfrm>
        <a:off x="22617" y="140141"/>
        <a:ext cx="5239553" cy="418086"/>
      </dsp:txXfrm>
    </dsp:sp>
    <dsp:sp modelId="{2188DE46-950A-44E0-A8B0-CD8EFEA6C151}">
      <dsp:nvSpPr>
        <dsp:cNvPr id="0" name=""/>
        <dsp:cNvSpPr/>
      </dsp:nvSpPr>
      <dsp:spPr>
        <a:xfrm>
          <a:off x="0" y="632684"/>
          <a:ext cx="5284787" cy="463320"/>
        </a:xfrm>
        <a:prstGeom prst="roundRect">
          <a:avLst/>
        </a:prstGeom>
        <a:solidFill>
          <a:schemeClr val="accent4">
            <a:hueOff val="1066501"/>
            <a:satOff val="-3857"/>
            <a:lumOff val="3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orker time</a:t>
          </a:r>
        </a:p>
      </dsp:txBody>
      <dsp:txXfrm>
        <a:off x="22617" y="655301"/>
        <a:ext cx="5239553" cy="418086"/>
      </dsp:txXfrm>
    </dsp:sp>
    <dsp:sp modelId="{00AC3774-2F5B-41F4-9613-FD78AB0A3D33}">
      <dsp:nvSpPr>
        <dsp:cNvPr id="0" name=""/>
        <dsp:cNvSpPr/>
      </dsp:nvSpPr>
      <dsp:spPr>
        <a:xfrm>
          <a:off x="0" y="1147844"/>
          <a:ext cx="5284787" cy="463320"/>
        </a:xfrm>
        <a:prstGeom prst="roundRect">
          <a:avLst/>
        </a:prstGeom>
        <a:solidFill>
          <a:schemeClr val="accent4">
            <a:hueOff val="2133002"/>
            <a:satOff val="-7713"/>
            <a:lumOff val="7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Physical read</a:t>
          </a:r>
          <a:endParaRPr lang="en-US" sz="1800" kern="1200" dirty="0"/>
        </a:p>
      </dsp:txBody>
      <dsp:txXfrm>
        <a:off x="22617" y="1170461"/>
        <a:ext cx="5239553" cy="418086"/>
      </dsp:txXfrm>
    </dsp:sp>
    <dsp:sp modelId="{ADB81461-1BAD-42E8-8951-7926DFB44DB9}">
      <dsp:nvSpPr>
        <dsp:cNvPr id="0" name=""/>
        <dsp:cNvSpPr/>
      </dsp:nvSpPr>
      <dsp:spPr>
        <a:xfrm>
          <a:off x="0" y="1663004"/>
          <a:ext cx="5284787" cy="463320"/>
        </a:xfrm>
        <a:prstGeom prst="roundRect">
          <a:avLst/>
        </a:prstGeom>
        <a:solidFill>
          <a:schemeClr val="accent4">
            <a:hueOff val="3199504"/>
            <a:satOff val="-11570"/>
            <a:lumOff val="113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Logical reads</a:t>
          </a:r>
          <a:endParaRPr lang="en-US" sz="1800" kern="1200" dirty="0"/>
        </a:p>
      </dsp:txBody>
      <dsp:txXfrm>
        <a:off x="22617" y="1685621"/>
        <a:ext cx="5239553" cy="418086"/>
      </dsp:txXfrm>
    </dsp:sp>
    <dsp:sp modelId="{AC47D6B1-4844-4DF3-A3BB-850F4BBCC674}">
      <dsp:nvSpPr>
        <dsp:cNvPr id="0" name=""/>
        <dsp:cNvSpPr/>
      </dsp:nvSpPr>
      <dsp:spPr>
        <a:xfrm>
          <a:off x="0" y="2178164"/>
          <a:ext cx="5284787" cy="463320"/>
        </a:xfrm>
        <a:prstGeom prst="round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Elapsed time</a:t>
          </a:r>
        </a:p>
      </dsp:txBody>
      <dsp:txXfrm>
        <a:off x="22617" y="2200781"/>
        <a:ext cx="5239553" cy="418086"/>
      </dsp:txXfrm>
    </dsp:sp>
    <dsp:sp modelId="{A4B8DADE-7CBD-4991-BE41-E0572C3734D1}">
      <dsp:nvSpPr>
        <dsp:cNvPr id="0" name=""/>
        <dsp:cNvSpPr/>
      </dsp:nvSpPr>
      <dsp:spPr>
        <a:xfrm>
          <a:off x="0" y="2693325"/>
          <a:ext cx="5284787" cy="463320"/>
        </a:xfrm>
        <a:prstGeom prst="roundRect">
          <a:avLst/>
        </a:prstGeom>
        <a:solidFill>
          <a:schemeClr val="accent4">
            <a:hueOff val="5332506"/>
            <a:satOff val="-19283"/>
            <a:lumOff val="188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Row count</a:t>
          </a:r>
        </a:p>
      </dsp:txBody>
      <dsp:txXfrm>
        <a:off x="22617" y="2715942"/>
        <a:ext cx="5239553" cy="418086"/>
      </dsp:txXfrm>
    </dsp:sp>
    <dsp:sp modelId="{18BBA3A3-5B22-4686-A138-349B603E9E3D}">
      <dsp:nvSpPr>
        <dsp:cNvPr id="0" name=""/>
        <dsp:cNvSpPr/>
      </dsp:nvSpPr>
      <dsp:spPr>
        <a:xfrm>
          <a:off x="0" y="3208485"/>
          <a:ext cx="5284787" cy="463320"/>
        </a:xfrm>
        <a:prstGeom prst="roundRect">
          <a:avLst/>
        </a:prstGeom>
        <a:solidFill>
          <a:schemeClr val="accent4">
            <a:hueOff val="6399007"/>
            <a:satOff val="-23139"/>
            <a:lumOff val="226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Memory consumption</a:t>
          </a:r>
          <a:endParaRPr lang="en-US" sz="1800" kern="1200" dirty="0"/>
        </a:p>
      </dsp:txBody>
      <dsp:txXfrm>
        <a:off x="22617" y="3231102"/>
        <a:ext cx="5239553" cy="418086"/>
      </dsp:txXfrm>
    </dsp:sp>
    <dsp:sp modelId="{F2C617A2-4343-4A54-A451-84BA96676C27}">
      <dsp:nvSpPr>
        <dsp:cNvPr id="0" name=""/>
        <dsp:cNvSpPr/>
      </dsp:nvSpPr>
      <dsp:spPr>
        <a:xfrm>
          <a:off x="0" y="3723645"/>
          <a:ext cx="5284787" cy="463320"/>
        </a:xfrm>
        <a:prstGeom prst="roundRect">
          <a:avLst/>
        </a:prstGeom>
        <a:solidFill>
          <a:schemeClr val="accent4">
            <a:hueOff val="7465508"/>
            <a:satOff val="-26996"/>
            <a:lumOff val="264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pills</a:t>
          </a:r>
        </a:p>
      </dsp:txBody>
      <dsp:txXfrm>
        <a:off x="22617" y="3746262"/>
        <a:ext cx="5239553" cy="418086"/>
      </dsp:txXfrm>
    </dsp:sp>
    <dsp:sp modelId="{5D23F41D-DF0C-4EFA-AECE-5D315A3AA310}">
      <dsp:nvSpPr>
        <dsp:cNvPr id="0" name=""/>
        <dsp:cNvSpPr/>
      </dsp:nvSpPr>
      <dsp:spPr>
        <a:xfrm>
          <a:off x="0" y="4238805"/>
          <a:ext cx="5284787" cy="463320"/>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a:t>
          </a:r>
        </a:p>
      </dsp:txBody>
      <dsp:txXfrm>
        <a:off x="22617" y="4261422"/>
        <a:ext cx="5239553" cy="41808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Total</a:t>
          </a:r>
          <a:endParaRPr lang="en-US" sz="2400" kern="1200" dirty="0"/>
        </a:p>
        <a:p>
          <a:pPr marL="228600" lvl="1" indent="-228600" algn="l" defTabSz="1066800">
            <a:lnSpc>
              <a:spcPct val="90000"/>
            </a:lnSpc>
            <a:spcBef>
              <a:spcPct val="0"/>
            </a:spcBef>
            <a:spcAft>
              <a:spcPct val="15000"/>
            </a:spcAft>
            <a:buChar char="•"/>
          </a:pPr>
          <a:r>
            <a:rPr lang="en-US" sz="2400" kern="1200" baseline="0" dirty="0"/>
            <a:t>Last</a:t>
          </a:r>
          <a:endParaRPr lang="en-US" sz="2400" kern="1200" dirty="0"/>
        </a:p>
        <a:p>
          <a:pPr marL="228600" lvl="1" indent="-228600" algn="l" defTabSz="1066800">
            <a:lnSpc>
              <a:spcPct val="90000"/>
            </a:lnSpc>
            <a:spcBef>
              <a:spcPct val="0"/>
            </a:spcBef>
            <a:spcAft>
              <a:spcPct val="15000"/>
            </a:spcAft>
            <a:buChar char="•"/>
          </a:pPr>
          <a:r>
            <a:rPr lang="en-US" sz="2400" kern="1200" baseline="0" dirty="0"/>
            <a:t>Min</a:t>
          </a:r>
          <a:endParaRPr lang="en-US" sz="2400" kern="1200" dirty="0"/>
        </a:p>
        <a:p>
          <a:pPr marL="228600" lvl="1" indent="-228600" algn="l" defTabSz="1066800">
            <a:lnSpc>
              <a:spcPct val="90000"/>
            </a:lnSpc>
            <a:spcBef>
              <a:spcPct val="0"/>
            </a:spcBef>
            <a:spcAft>
              <a:spcPct val="15000"/>
            </a:spcAft>
            <a:buChar char="•"/>
          </a:pPr>
          <a:r>
            <a:rPr lang="en-US" sz="2400" kern="1200" baseline="0" dirty="0"/>
            <a:t>Max</a:t>
          </a:r>
          <a:endParaRPr lang="en-US" sz="24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B8F45-C21C-453B-84D9-C5CD6AD7B4FC}">
      <dsp:nvSpPr>
        <dsp:cNvPr id="0" name=""/>
        <dsp:cNvSpPr/>
      </dsp:nvSpPr>
      <dsp:spPr>
        <a:xfrm>
          <a:off x="0"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eavy </a:t>
          </a:r>
          <a:r>
            <a:rPr lang="en-US" sz="2400" i="1" kern="1200" baseline="0" dirty="0"/>
            <a:t>ad hoc </a:t>
          </a:r>
          <a:r>
            <a:rPr lang="en-US" sz="2400" kern="1200" baseline="0" dirty="0"/>
            <a:t>workloads can bloat the plan cache</a:t>
          </a:r>
          <a:endParaRPr lang="en-US" sz="2400" kern="1200" dirty="0"/>
        </a:p>
      </dsp:txBody>
      <dsp:txXfrm>
        <a:off x="0" y="295174"/>
        <a:ext cx="3400226" cy="2040136"/>
      </dsp:txXfrm>
    </dsp:sp>
    <dsp:sp modelId="{7A872729-72F1-46CB-B009-3FB6861B61FC}">
      <dsp:nvSpPr>
        <dsp:cNvPr id="0" name=""/>
        <dsp:cNvSpPr/>
      </dsp:nvSpPr>
      <dsp:spPr>
        <a:xfrm>
          <a:off x="3740249"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No benefit to caching single-use, ad hoc plans</a:t>
          </a:r>
          <a:endParaRPr lang="en-US" sz="2400" kern="1200" dirty="0"/>
        </a:p>
      </dsp:txBody>
      <dsp:txXfrm>
        <a:off x="3740249" y="295174"/>
        <a:ext cx="3400226" cy="2040136"/>
      </dsp:txXfrm>
    </dsp:sp>
    <dsp:sp modelId="{41967A24-5AD9-4D95-94BC-C765092BFE0F}">
      <dsp:nvSpPr>
        <dsp:cNvPr id="0" name=""/>
        <dsp:cNvSpPr/>
      </dsp:nvSpPr>
      <dsp:spPr>
        <a:xfrm>
          <a:off x="7480499"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nable “optimize for ad hoc workload” to keep single-use plans out of the cache</a:t>
          </a:r>
          <a:endParaRPr lang="en-US" sz="2400" kern="1200" dirty="0"/>
        </a:p>
      </dsp:txBody>
      <dsp:txXfrm>
        <a:off x="7480499" y="295174"/>
        <a:ext cx="3400226" cy="204013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PROC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he entire plan cache – all databases</a:t>
          </a:r>
          <a:endParaRPr lang="en-US" sz="24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of a specific type</a:t>
          </a:r>
          <a:endParaRPr lang="en-US" sz="24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for a single database</a:t>
          </a:r>
          <a:endParaRPr lang="en-US" sz="24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 specific plan</a:t>
          </a:r>
          <a:endParaRPr lang="en-US" sz="2400" kern="1200" dirty="0"/>
        </a:p>
      </dsp:txBody>
      <dsp:txXfrm>
        <a:off x="49715" y="3259861"/>
        <a:ext cx="3817631" cy="91899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 DATABASE </a:t>
          </a:r>
          <a:r>
            <a:rPr lang="en-US" sz="2100" kern="1200" baseline="0" dirty="0"/>
            <a:t>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The entire plan cache – all databases</a:t>
          </a:r>
          <a:endParaRPr lang="en-US" sz="26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of a specific type</a:t>
          </a:r>
          <a:endParaRPr lang="en-US" sz="26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for a single database</a:t>
          </a:r>
          <a:endParaRPr lang="en-US" sz="26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 &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 specific plan</a:t>
          </a:r>
          <a:endParaRPr lang="en-US" sz="2600" kern="1200" dirty="0"/>
        </a:p>
      </dsp:txBody>
      <dsp:txXfrm>
        <a:off x="49715" y="3259861"/>
        <a:ext cx="3817631" cy="9189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344A51-086C-4132-8DCA-8D11584234C5}">
      <dsp:nvSpPr>
        <dsp:cNvPr id="0" name=""/>
        <dsp:cNvSpPr/>
      </dsp:nvSpPr>
      <dsp:spPr>
        <a:xfrm rot="5400000">
          <a:off x="7019236" y="-3005822"/>
          <a:ext cx="759314"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u="sng" kern="1200" baseline="0" dirty="0"/>
            <a:t>Any</a:t>
          </a:r>
          <a:r>
            <a:rPr lang="en-US" sz="1800" kern="1200" baseline="0" dirty="0"/>
            <a:t> difference in casing, white space or literal values will affect a hashed value</a:t>
          </a:r>
          <a:endParaRPr lang="en-US" sz="1800" kern="1200" dirty="0"/>
        </a:p>
      </dsp:txBody>
      <dsp:txXfrm rot="-5400000">
        <a:off x="3917062" y="133419"/>
        <a:ext cx="6926597" cy="685180"/>
      </dsp:txXfrm>
    </dsp:sp>
    <dsp:sp modelId="{921C66B1-F72E-469E-A1A5-766BFD69EE6E}">
      <dsp:nvSpPr>
        <dsp:cNvPr id="0" name=""/>
        <dsp:cNvSpPr/>
      </dsp:nvSpPr>
      <dsp:spPr>
        <a:xfrm>
          <a:off x="0" y="1438"/>
          <a:ext cx="3917061" cy="94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Requires that SQL statements match exactly</a:t>
          </a:r>
          <a:endParaRPr lang="en-US" sz="2500" kern="1200" dirty="0"/>
        </a:p>
      </dsp:txBody>
      <dsp:txXfrm>
        <a:off x="46333" y="47771"/>
        <a:ext cx="3824395" cy="856476"/>
      </dsp:txXfrm>
    </dsp:sp>
    <dsp:sp modelId="{FDA009E2-0319-432B-9F31-DFFAAEDD8B20}">
      <dsp:nvSpPr>
        <dsp:cNvPr id="0" name=""/>
        <dsp:cNvSpPr/>
      </dsp:nvSpPr>
      <dsp:spPr>
        <a:xfrm rot="5400000">
          <a:off x="7019236" y="-2009222"/>
          <a:ext cx="759314"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imple (on by default) or Forced Parameterization can improve reuse</a:t>
          </a:r>
          <a:endParaRPr lang="en-US" sz="1800" kern="1200" dirty="0"/>
        </a:p>
      </dsp:txBody>
      <dsp:txXfrm rot="-5400000">
        <a:off x="3917062" y="1130019"/>
        <a:ext cx="6926597" cy="685180"/>
      </dsp:txXfrm>
    </dsp:sp>
    <dsp:sp modelId="{39CC2B3E-3196-4D9F-86CF-8A88B8AB8052}">
      <dsp:nvSpPr>
        <dsp:cNvPr id="0" name=""/>
        <dsp:cNvSpPr/>
      </dsp:nvSpPr>
      <dsp:spPr>
        <a:xfrm>
          <a:off x="0" y="998038"/>
          <a:ext cx="3917061" cy="94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Less likely for </a:t>
          </a:r>
          <a:r>
            <a:rPr lang="en-US" sz="2500" i="1" kern="1200" baseline="0" dirty="0"/>
            <a:t>ad hoc </a:t>
          </a:r>
          <a:r>
            <a:rPr lang="en-US" sz="2500" kern="1200" baseline="0" dirty="0"/>
            <a:t>SQL statements</a:t>
          </a:r>
          <a:endParaRPr lang="en-US" sz="2500" kern="1200" dirty="0"/>
        </a:p>
      </dsp:txBody>
      <dsp:txXfrm>
        <a:off x="46333" y="1044371"/>
        <a:ext cx="3824395" cy="856476"/>
      </dsp:txXfrm>
    </dsp:sp>
    <dsp:sp modelId="{DBDF4D6F-4375-4583-A571-22E5E09D9615}">
      <dsp:nvSpPr>
        <dsp:cNvPr id="0" name=""/>
        <dsp:cNvSpPr/>
      </dsp:nvSpPr>
      <dsp:spPr>
        <a:xfrm rot="5400000">
          <a:off x="7019236" y="-1012622"/>
          <a:ext cx="759314"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tored procedures, Functions, Triggers</a:t>
          </a:r>
          <a:endParaRPr lang="en-US" sz="1800" kern="1200" dirty="0"/>
        </a:p>
        <a:p>
          <a:pPr marL="171450" lvl="1" indent="-171450" algn="l" defTabSz="800100">
            <a:lnSpc>
              <a:spcPct val="90000"/>
            </a:lnSpc>
            <a:spcBef>
              <a:spcPct val="0"/>
            </a:spcBef>
            <a:spcAft>
              <a:spcPct val="15000"/>
            </a:spcAft>
            <a:buChar char="•"/>
          </a:pPr>
          <a:r>
            <a:rPr lang="en-US" sz="1800" kern="1200" baseline="0" dirty="0"/>
            <a:t>Prepared statements and parameterized queries (sp_executesql)</a:t>
          </a:r>
          <a:endParaRPr lang="en-US" sz="1800" kern="1200" dirty="0"/>
        </a:p>
      </dsp:txBody>
      <dsp:txXfrm rot="-5400000">
        <a:off x="3917062" y="2126619"/>
        <a:ext cx="6926597" cy="685180"/>
      </dsp:txXfrm>
    </dsp:sp>
    <dsp:sp modelId="{CC07D088-4892-4E5C-8123-1ABF1BF7BA81}">
      <dsp:nvSpPr>
        <dsp:cNvPr id="0" name=""/>
        <dsp:cNvSpPr/>
      </dsp:nvSpPr>
      <dsp:spPr>
        <a:xfrm>
          <a:off x="0" y="1994638"/>
          <a:ext cx="3917061" cy="94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Most easily achieved using:</a:t>
          </a:r>
          <a:endParaRPr lang="en-US" sz="2500" kern="1200" dirty="0"/>
        </a:p>
      </dsp:txBody>
      <dsp:txXfrm>
        <a:off x="46333" y="2040971"/>
        <a:ext cx="3824395" cy="85647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A2300-0902-41CF-8DE3-EF1333A19D2A}">
      <dsp:nvSpPr>
        <dsp:cNvPr id="0" name=""/>
        <dsp:cNvSpPr/>
      </dsp:nvSpPr>
      <dsp:spPr>
        <a:xfrm>
          <a:off x="53" y="541"/>
          <a:ext cx="5084401" cy="66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Benefit</a:t>
          </a:r>
        </a:p>
      </dsp:txBody>
      <dsp:txXfrm>
        <a:off x="53" y="541"/>
        <a:ext cx="5084401" cy="662400"/>
      </dsp:txXfrm>
    </dsp:sp>
    <dsp:sp modelId="{BAD13D12-81A5-4696-8F90-2CDFECF2217D}">
      <dsp:nvSpPr>
        <dsp:cNvPr id="0" name=""/>
        <dsp:cNvSpPr/>
      </dsp:nvSpPr>
      <dsp:spPr>
        <a:xfrm>
          <a:off x="53" y="662941"/>
          <a:ext cx="5084401" cy="1357402"/>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Improved performance as reuse saves time and CPU</a:t>
          </a:r>
          <a:endParaRPr lang="en-US" sz="2200" kern="1200" dirty="0"/>
        </a:p>
      </dsp:txBody>
      <dsp:txXfrm>
        <a:off x="53" y="662941"/>
        <a:ext cx="5084401" cy="1357402"/>
      </dsp:txXfrm>
    </dsp:sp>
    <dsp:sp modelId="{00C82F43-D0EC-4416-9542-381A0C09BD27}">
      <dsp:nvSpPr>
        <dsp:cNvPr id="0" name=""/>
        <dsp:cNvSpPr/>
      </dsp:nvSpPr>
      <dsp:spPr>
        <a:xfrm>
          <a:off x="5796271" y="541"/>
          <a:ext cx="5084401" cy="662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rawback</a:t>
          </a:r>
        </a:p>
      </dsp:txBody>
      <dsp:txXfrm>
        <a:off x="5796271" y="541"/>
        <a:ext cx="5084401" cy="662400"/>
      </dsp:txXfrm>
    </dsp:sp>
    <dsp:sp modelId="{2F8EF1CB-44EC-4B3D-B02F-AB0D218C0B47}">
      <dsp:nvSpPr>
        <dsp:cNvPr id="0" name=""/>
        <dsp:cNvSpPr/>
      </dsp:nvSpPr>
      <dsp:spPr>
        <a:xfrm>
          <a:off x="5796271" y="662941"/>
          <a:ext cx="5084401" cy="1357402"/>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Degraded performance when reused plan is not optimal for all parameter values</a:t>
          </a:r>
          <a:endParaRPr lang="en-US" sz="2300" kern="1200" dirty="0"/>
        </a:p>
      </dsp:txBody>
      <dsp:txXfrm>
        <a:off x="5796271" y="662941"/>
        <a:ext cx="5084401" cy="1357402"/>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E681C0-A19D-42B4-9C8C-3286F68DB5FB}">
      <dsp:nvSpPr>
        <dsp:cNvPr id="0" name=""/>
        <dsp:cNvSpPr/>
      </dsp:nvSpPr>
      <dsp:spPr>
        <a:xfrm>
          <a:off x="46053" y="0"/>
          <a:ext cx="10788619" cy="3268932"/>
        </a:xfrm>
        <a:prstGeom prst="leftRightRibb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5C8ED6-EAE6-4CF5-AD1F-6474517BD6D5}">
      <dsp:nvSpPr>
        <dsp:cNvPr id="0" name=""/>
        <dsp:cNvSpPr/>
      </dsp:nvSpPr>
      <dsp:spPr>
        <a:xfrm>
          <a:off x="1801450" y="572063"/>
          <a:ext cx="3147272"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Parameter Sniffing</a:t>
          </a:r>
          <a:endParaRPr lang="en-US" sz="1500" kern="1200" dirty="0"/>
        </a:p>
        <a:p>
          <a:pPr marL="114300" lvl="1" indent="-114300" algn="l" defTabSz="533400" rtl="0">
            <a:lnSpc>
              <a:spcPct val="90000"/>
            </a:lnSpc>
            <a:spcBef>
              <a:spcPct val="0"/>
            </a:spcBef>
            <a:spcAft>
              <a:spcPct val="15000"/>
            </a:spcAft>
            <a:buChar char="•"/>
          </a:pPr>
          <a:r>
            <a:rPr lang="en-US" sz="1200" kern="1200" baseline="0" dirty="0"/>
            <a:t>Optimizer’s ability to see (sniff) parameter values at compile time and so create a cost-effective execution plan</a:t>
          </a:r>
          <a:r>
            <a:rPr lang="en-US" sz="1200" kern="1200" baseline="0" dirty="0">
              <a:latin typeface="Segoe UI Semibold"/>
            </a:rPr>
            <a:t>.  </a:t>
          </a:r>
          <a:endParaRPr lang="en-US" sz="1200" b="1" kern="1200" dirty="0"/>
        </a:p>
        <a:p>
          <a:pPr marL="114300" lvl="1" indent="-114300" algn="l" defTabSz="533400">
            <a:lnSpc>
              <a:spcPct val="90000"/>
            </a:lnSpc>
            <a:spcBef>
              <a:spcPct val="0"/>
            </a:spcBef>
            <a:spcAft>
              <a:spcPct val="15000"/>
            </a:spcAft>
            <a:buChar char="•"/>
          </a:pPr>
          <a:r>
            <a:rPr lang="en-US" sz="1200" b="0" kern="1200" baseline="0" dirty="0"/>
            <a:t>This is generally beneficial.</a:t>
          </a:r>
          <a:endParaRPr lang="en-US" sz="1200" b="0" kern="1200" dirty="0"/>
        </a:p>
        <a:p>
          <a:pPr marL="114300" lvl="1" indent="-114300" algn="l" defTabSz="533400">
            <a:lnSpc>
              <a:spcPct val="90000"/>
            </a:lnSpc>
            <a:spcBef>
              <a:spcPct val="0"/>
            </a:spcBef>
            <a:spcAft>
              <a:spcPct val="15000"/>
            </a:spcAft>
            <a:buChar char="•"/>
          </a:pPr>
          <a:r>
            <a:rPr lang="en-US" sz="1200" b="0" u="sng" kern="1200" dirty="0"/>
            <a:t>Only</a:t>
          </a:r>
          <a:r>
            <a:rPr lang="en-US" sz="1200" b="0" kern="1200" dirty="0"/>
            <a:t> p</a:t>
          </a:r>
          <a:r>
            <a:rPr lang="en-US" sz="1200" kern="1200" dirty="0"/>
            <a:t>roblematic when compile parameters aren’t representative</a:t>
          </a:r>
        </a:p>
      </dsp:txBody>
      <dsp:txXfrm>
        <a:off x="1801450" y="572063"/>
        <a:ext cx="3147272" cy="1601776"/>
      </dsp:txXfrm>
    </dsp:sp>
    <dsp:sp modelId="{B1F73455-BB74-4E53-B758-E009DED876F4}">
      <dsp:nvSpPr>
        <dsp:cNvPr id="0" name=""/>
        <dsp:cNvSpPr/>
      </dsp:nvSpPr>
      <dsp:spPr>
        <a:xfrm>
          <a:off x="5810955" y="1059933"/>
          <a:ext cx="3802244"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Recompile hints</a:t>
          </a:r>
          <a:endParaRPr lang="en-US" sz="1500" kern="1200" dirty="0"/>
        </a:p>
        <a:p>
          <a:pPr marL="114300" lvl="1" indent="-114300" algn="l" defTabSz="533400">
            <a:lnSpc>
              <a:spcPct val="90000"/>
            </a:lnSpc>
            <a:spcBef>
              <a:spcPct val="0"/>
            </a:spcBef>
            <a:spcAft>
              <a:spcPct val="15000"/>
            </a:spcAft>
            <a:buChar char="•"/>
          </a:pPr>
          <a:r>
            <a:rPr lang="en-US" sz="1200" kern="1200" baseline="0" dirty="0"/>
            <a:t>Prevent caching of plans at the object or statement (preferred) level</a:t>
          </a:r>
          <a:endParaRPr lang="en-US" sz="1200" kern="1200" dirty="0"/>
        </a:p>
        <a:p>
          <a:pPr marL="114300" lvl="1" indent="-114300" algn="l" defTabSz="533400">
            <a:lnSpc>
              <a:spcPct val="90000"/>
            </a:lnSpc>
            <a:spcBef>
              <a:spcPct val="0"/>
            </a:spcBef>
            <a:spcAft>
              <a:spcPct val="15000"/>
            </a:spcAft>
            <a:buChar char="•"/>
          </a:pPr>
          <a:r>
            <a:rPr lang="en-US" sz="1200" kern="1200" baseline="0" dirty="0"/>
            <a:t>sp_recompile &lt;object_name&gt; to manually force recompilation</a:t>
          </a:r>
          <a:endParaRPr lang="en-US" sz="1200" kern="1200" dirty="0"/>
        </a:p>
      </dsp:txBody>
      <dsp:txXfrm>
        <a:off x="5810955" y="1059933"/>
        <a:ext cx="3802244" cy="160177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44"/>
          <a:ext cx="10880725" cy="71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the size of the plan cache fixed?</a:t>
          </a:r>
        </a:p>
      </dsp:txBody>
      <dsp:txXfrm>
        <a:off x="34726" y="36870"/>
        <a:ext cx="10811273" cy="641908"/>
      </dsp:txXfrm>
    </dsp:sp>
    <dsp:sp modelId="{4A71D5C7-A7D6-46CE-B888-CF65241F6B98}">
      <dsp:nvSpPr>
        <dsp:cNvPr id="0" name=""/>
        <dsp:cNvSpPr/>
      </dsp:nvSpPr>
      <dsp:spPr>
        <a:xfrm>
          <a:off x="0" y="822944"/>
          <a:ext cx="10880725" cy="711360"/>
        </a:xfrm>
        <a:prstGeom prst="roundRect">
          <a:avLst/>
        </a:prstGeom>
        <a:solidFill>
          <a:schemeClr val="accent4">
            <a:hueOff val="1706402"/>
            <a:satOff val="-6170"/>
            <a:lumOff val="60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long do query plans remain in the plan cache?</a:t>
          </a:r>
        </a:p>
      </dsp:txBody>
      <dsp:txXfrm>
        <a:off x="34726" y="857670"/>
        <a:ext cx="10811273" cy="641908"/>
      </dsp:txXfrm>
    </dsp:sp>
    <dsp:sp modelId="{4CE6D622-6C4B-4912-A756-057BDFDF7259}">
      <dsp:nvSpPr>
        <dsp:cNvPr id="0" name=""/>
        <dsp:cNvSpPr/>
      </dsp:nvSpPr>
      <dsp:spPr>
        <a:xfrm>
          <a:off x="0" y="1643744"/>
          <a:ext cx="10880725" cy="711360"/>
        </a:xfrm>
        <a:prstGeom prst="roundRect">
          <a:avLst/>
        </a:prstGeom>
        <a:solidFill>
          <a:schemeClr val="accent4">
            <a:hueOff val="3412804"/>
            <a:satOff val="-12341"/>
            <a:lumOff val="12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is plan caching helpful?</a:t>
          </a:r>
        </a:p>
      </dsp:txBody>
      <dsp:txXfrm>
        <a:off x="34726" y="1678470"/>
        <a:ext cx="10811273" cy="641908"/>
      </dsp:txXfrm>
    </dsp:sp>
    <dsp:sp modelId="{0E5177C7-801D-471B-9850-4FD8DFBC4036}">
      <dsp:nvSpPr>
        <dsp:cNvPr id="0" name=""/>
        <dsp:cNvSpPr/>
      </dsp:nvSpPr>
      <dsp:spPr>
        <a:xfrm>
          <a:off x="0" y="2464544"/>
          <a:ext cx="10880725" cy="711360"/>
        </a:xfrm>
        <a:prstGeom prst="roundRect">
          <a:avLst/>
        </a:prstGeom>
        <a:solidFill>
          <a:schemeClr val="accent4">
            <a:hueOff val="5119206"/>
            <a:satOff val="-18511"/>
            <a:lumOff val="18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are </a:t>
          </a:r>
          <a:r>
            <a:rPr lang="en-US" sz="2400" i="1" kern="1200" dirty="0"/>
            <a:t>ad hoc </a:t>
          </a:r>
          <a:r>
            <a:rPr lang="en-US" sz="2400" kern="1200" dirty="0"/>
            <a:t>query plans sometimes problematic?</a:t>
          </a:r>
        </a:p>
      </dsp:txBody>
      <dsp:txXfrm>
        <a:off x="34726" y="2499270"/>
        <a:ext cx="10811273" cy="641908"/>
      </dsp:txXfrm>
    </dsp:sp>
    <dsp:sp modelId="{D5774165-7248-4210-ABDB-B3EBDE700FEB}">
      <dsp:nvSpPr>
        <dsp:cNvPr id="0" name=""/>
        <dsp:cNvSpPr/>
      </dsp:nvSpPr>
      <dsp:spPr>
        <a:xfrm>
          <a:off x="0" y="3285345"/>
          <a:ext cx="10880725" cy="711360"/>
        </a:xfrm>
        <a:prstGeom prst="roundRect">
          <a:avLst/>
        </a:prstGeom>
        <a:solidFill>
          <a:schemeClr val="accent4">
            <a:hueOff val="6825608"/>
            <a:satOff val="-24682"/>
            <a:lumOff val="24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lessen the impact of an </a:t>
          </a:r>
          <a:r>
            <a:rPr lang="en-US" sz="2400" i="1" kern="1200" dirty="0"/>
            <a:t>ad hoc </a:t>
          </a:r>
          <a:r>
            <a:rPr lang="en-US" sz="2400" kern="1200" dirty="0"/>
            <a:t>workload?</a:t>
          </a:r>
        </a:p>
      </dsp:txBody>
      <dsp:txXfrm>
        <a:off x="34726" y="3320071"/>
        <a:ext cx="10811273" cy="641908"/>
      </dsp:txXfrm>
    </dsp:sp>
    <dsp:sp modelId="{196D8D5C-AF3C-4B3F-BC76-432EBE3C6399}">
      <dsp:nvSpPr>
        <dsp:cNvPr id="0" name=""/>
        <dsp:cNvSpPr/>
      </dsp:nvSpPr>
      <dsp:spPr>
        <a:xfrm>
          <a:off x="0" y="4106145"/>
          <a:ext cx="10880725" cy="711360"/>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ddress a parameter sniffing issue?</a:t>
          </a:r>
        </a:p>
      </dsp:txBody>
      <dsp:txXfrm>
        <a:off x="34726" y="4140871"/>
        <a:ext cx="10811273" cy="64190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C3109-A4B9-4C66-9825-7FC920D24281}">
      <dsp:nvSpPr>
        <dsp:cNvPr id="0" name=""/>
        <dsp:cNvSpPr/>
      </dsp:nvSpPr>
      <dsp:spPr>
        <a:xfrm>
          <a:off x="0" y="113420"/>
          <a:ext cx="5826760" cy="1190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Query Store is set at the database level</a:t>
          </a:r>
          <a:endParaRPr lang="en-US" sz="2000" kern="1200"/>
        </a:p>
      </dsp:txBody>
      <dsp:txXfrm>
        <a:off x="58114" y="171534"/>
        <a:ext cx="5710532" cy="1074247"/>
      </dsp:txXfrm>
    </dsp:sp>
    <dsp:sp modelId="{940AAA97-0AD4-43AE-8A9E-D67C5192BF98}">
      <dsp:nvSpPr>
        <dsp:cNvPr id="0" name=""/>
        <dsp:cNvSpPr/>
      </dsp:nvSpPr>
      <dsp:spPr>
        <a:xfrm>
          <a:off x="0" y="1361495"/>
          <a:ext cx="5826760" cy="1190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annot be used for Master or TempDB system databases but can be enabled for the Model and MSDB system databases. </a:t>
          </a:r>
          <a:endParaRPr lang="en-US" sz="2000" kern="1200"/>
        </a:p>
      </dsp:txBody>
      <dsp:txXfrm>
        <a:off x="58114" y="1419609"/>
        <a:ext cx="5710532" cy="1074247"/>
      </dsp:txXfrm>
    </dsp:sp>
    <dsp:sp modelId="{B405DF18-C403-4EF0-AEB4-ADB4779EBB5A}">
      <dsp:nvSpPr>
        <dsp:cNvPr id="0" name=""/>
        <dsp:cNvSpPr/>
      </dsp:nvSpPr>
      <dsp:spPr>
        <a:xfrm>
          <a:off x="0" y="2609570"/>
          <a:ext cx="5826760" cy="1190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The user database stores the data in internal tables that can be accessed by using built-in Query Store views.</a:t>
          </a:r>
          <a:endParaRPr lang="en-US" sz="2000" kern="1200"/>
        </a:p>
      </dsp:txBody>
      <dsp:txXfrm>
        <a:off x="58114" y="2667684"/>
        <a:ext cx="5710532" cy="1074247"/>
      </dsp:txXfrm>
    </dsp:sp>
    <dsp:sp modelId="{769C1E20-379B-47E6-908D-ECB246999F97}">
      <dsp:nvSpPr>
        <dsp:cNvPr id="0" name=""/>
        <dsp:cNvSpPr/>
      </dsp:nvSpPr>
      <dsp:spPr>
        <a:xfrm>
          <a:off x="0" y="3857645"/>
          <a:ext cx="5826760" cy="1190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GB" sz="2000" kern="1200" baseline="0"/>
            <a:t>SQL Server retains this data until the space allocated to Query Store is full or manually purged.</a:t>
          </a:r>
          <a:endParaRPr lang="en-US" sz="2000" kern="1200"/>
        </a:p>
      </dsp:txBody>
      <dsp:txXfrm>
        <a:off x="58114" y="3915759"/>
        <a:ext cx="5710532" cy="107424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9168E-09A7-4FC7-B2EB-4BF2B3280EEA}">
      <dsp:nvSpPr>
        <dsp:cNvPr id="0" name=""/>
        <dsp:cNvSpPr/>
      </dsp:nvSpPr>
      <dsp:spPr>
        <a:xfrm>
          <a:off x="54" y="8144"/>
          <a:ext cx="5233253" cy="7200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Before Query Store</a:t>
          </a:r>
          <a:endParaRPr lang="en-US" sz="2400" kern="1200" dirty="0"/>
        </a:p>
      </dsp:txBody>
      <dsp:txXfrm>
        <a:off x="54" y="8144"/>
        <a:ext cx="5233253" cy="720000"/>
      </dsp:txXfrm>
    </dsp:sp>
    <dsp:sp modelId="{AD82FA61-1850-4B59-B124-9E03954BAFF0}">
      <dsp:nvSpPr>
        <dsp:cNvPr id="0" name=""/>
        <dsp:cNvSpPr/>
      </dsp:nvSpPr>
      <dsp:spPr>
        <a:xfrm>
          <a:off x="54" y="728144"/>
          <a:ext cx="5233253" cy="4653632"/>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Requires manual proactive monitoring to identify execution plan problems.</a:t>
          </a:r>
        </a:p>
        <a:p>
          <a:pPr marL="228600" lvl="1" indent="-228600" algn="l" defTabSz="1066800">
            <a:lnSpc>
              <a:spcPct val="90000"/>
            </a:lnSpc>
            <a:spcBef>
              <a:spcPct val="0"/>
            </a:spcBef>
            <a:spcAft>
              <a:spcPct val="15000"/>
            </a:spcAft>
            <a:buChar char="•"/>
          </a:pPr>
          <a:r>
            <a:rPr lang="en-US" sz="2400" kern="1200" baseline="0" dirty="0"/>
            <a:t>Only the latest plan was stored in the procedure cache</a:t>
          </a:r>
          <a:endParaRPr lang="en-US" sz="2400" kern="1200" dirty="0"/>
        </a:p>
        <a:p>
          <a:pPr marL="228600" lvl="1" indent="-228600" algn="l" defTabSz="1066800">
            <a:lnSpc>
              <a:spcPct val="90000"/>
            </a:lnSpc>
            <a:spcBef>
              <a:spcPct val="0"/>
            </a:spcBef>
            <a:spcAft>
              <a:spcPct val="15000"/>
            </a:spcAft>
            <a:buChar char="•"/>
          </a:pPr>
          <a:r>
            <a:rPr lang="en-US" sz="2400" kern="1200" baseline="0" dirty="0"/>
            <a:t>Restart caused data to be lost</a:t>
          </a:r>
          <a:endParaRPr lang="en-US" sz="2400" kern="1200" dirty="0"/>
        </a:p>
        <a:p>
          <a:pPr marL="228600" lvl="1" indent="-228600" algn="l" defTabSz="1066800">
            <a:lnSpc>
              <a:spcPct val="90000"/>
            </a:lnSpc>
            <a:spcBef>
              <a:spcPct val="0"/>
            </a:spcBef>
            <a:spcAft>
              <a:spcPct val="15000"/>
            </a:spcAft>
            <a:buChar char="•"/>
          </a:pPr>
          <a:r>
            <a:rPr lang="en-US" sz="2400" kern="1200" dirty="0"/>
            <a:t>Frequent recompiles of procedures or use of DBCC FREEPROCACHE</a:t>
          </a:r>
        </a:p>
        <a:p>
          <a:pPr marL="228600" lvl="1" indent="-228600" algn="l" defTabSz="1066800">
            <a:lnSpc>
              <a:spcPct val="90000"/>
            </a:lnSpc>
            <a:spcBef>
              <a:spcPct val="0"/>
            </a:spcBef>
            <a:spcAft>
              <a:spcPct val="15000"/>
            </a:spcAft>
            <a:buChar char="•"/>
          </a:pPr>
          <a:r>
            <a:rPr lang="en-US" sz="2400" kern="1200" baseline="0" dirty="0"/>
            <a:t>No history or aggregated gathering of data available.</a:t>
          </a:r>
          <a:endParaRPr lang="en-US" sz="2400" kern="1200" dirty="0"/>
        </a:p>
      </dsp:txBody>
      <dsp:txXfrm>
        <a:off x="54" y="728144"/>
        <a:ext cx="5233253" cy="4653632"/>
      </dsp:txXfrm>
    </dsp:sp>
    <dsp:sp modelId="{5B3159C4-B630-46CE-86BB-39F10831FF9C}">
      <dsp:nvSpPr>
        <dsp:cNvPr id="0" name=""/>
        <dsp:cNvSpPr/>
      </dsp:nvSpPr>
      <dsp:spPr>
        <a:xfrm>
          <a:off x="5965963" y="8144"/>
          <a:ext cx="5233253" cy="7200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With Query Store</a:t>
          </a:r>
        </a:p>
      </dsp:txBody>
      <dsp:txXfrm>
        <a:off x="5965963" y="8144"/>
        <a:ext cx="5233253" cy="720000"/>
      </dsp:txXfrm>
    </dsp:sp>
    <dsp:sp modelId="{821CDC50-C3A6-405C-AC50-7346C099707C}">
      <dsp:nvSpPr>
        <dsp:cNvPr id="0" name=""/>
        <dsp:cNvSpPr/>
      </dsp:nvSpPr>
      <dsp:spPr>
        <a:xfrm>
          <a:off x="5965963" y="728144"/>
          <a:ext cx="5233253" cy="4653632"/>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It stores the history of the execution plans for each query</a:t>
          </a:r>
          <a:endParaRPr lang="en-US" sz="2400" kern="1200" dirty="0"/>
        </a:p>
        <a:p>
          <a:pPr marL="228600" lvl="1" indent="-228600" algn="l" defTabSz="1066800">
            <a:lnSpc>
              <a:spcPct val="90000"/>
            </a:lnSpc>
            <a:spcBef>
              <a:spcPct val="0"/>
            </a:spcBef>
            <a:spcAft>
              <a:spcPct val="15000"/>
            </a:spcAft>
            <a:buChar char="•"/>
          </a:pPr>
          <a:r>
            <a:rPr lang="en-US" sz="2400" kern="1200"/>
            <a:t>It establishes a performance baseline for each plan over time</a:t>
          </a:r>
          <a:endParaRPr lang="en-US" sz="2400" kern="1200" dirty="0"/>
        </a:p>
        <a:p>
          <a:pPr marL="228600" lvl="1" indent="-228600" algn="l" defTabSz="1066800">
            <a:lnSpc>
              <a:spcPct val="90000"/>
            </a:lnSpc>
            <a:spcBef>
              <a:spcPct val="0"/>
            </a:spcBef>
            <a:spcAft>
              <a:spcPct val="15000"/>
            </a:spcAft>
            <a:buChar char="•"/>
          </a:pPr>
          <a:r>
            <a:rPr lang="en-US" sz="2400" kern="1200" dirty="0"/>
            <a:t>It identifies queries that may have regressed</a:t>
          </a:r>
        </a:p>
        <a:p>
          <a:pPr marL="228600" lvl="1" indent="-228600" algn="l" defTabSz="1066800">
            <a:lnSpc>
              <a:spcPct val="90000"/>
            </a:lnSpc>
            <a:spcBef>
              <a:spcPct val="0"/>
            </a:spcBef>
            <a:spcAft>
              <a:spcPct val="15000"/>
            </a:spcAft>
            <a:buChar char="•"/>
          </a:pPr>
          <a:r>
            <a:rPr lang="en-US" sz="2400" kern="1200"/>
            <a:t>It is possible to force plans quickly and easily</a:t>
          </a:r>
          <a:endParaRPr lang="en-US" sz="2400" kern="1200" dirty="0"/>
        </a:p>
        <a:p>
          <a:pPr marL="228600" lvl="1" indent="-228600" algn="l" defTabSz="1066800">
            <a:lnSpc>
              <a:spcPct val="90000"/>
            </a:lnSpc>
            <a:spcBef>
              <a:spcPct val="0"/>
            </a:spcBef>
            <a:spcAft>
              <a:spcPct val="15000"/>
            </a:spcAft>
            <a:buChar char="•"/>
          </a:pPr>
          <a:r>
            <a:rPr lang="en-US" sz="2400" kern="1200"/>
            <a:t>It works across server restarts, upgrades, and query recompilation</a:t>
          </a:r>
          <a:endParaRPr lang="en-US" sz="2400" kern="1200" dirty="0"/>
        </a:p>
      </dsp:txBody>
      <dsp:txXfrm>
        <a:off x="5965963" y="728144"/>
        <a:ext cx="5233253" cy="46536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6031536"/>
              <a:satOff val="27236"/>
              <a:lumOff val="85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B729-5FAF-4FDC-8763-0EC7070DA586}">
      <dsp:nvSpPr>
        <dsp:cNvPr id="0" name=""/>
        <dsp:cNvSpPr/>
      </dsp:nvSpPr>
      <dsp:spPr>
        <a:xfrm>
          <a:off x="55" y="542478"/>
          <a:ext cx="5285955" cy="604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Row mode execution</a:t>
          </a:r>
          <a:endParaRPr lang="en-US" sz="2400" kern="1200" dirty="0"/>
        </a:p>
      </dsp:txBody>
      <dsp:txXfrm>
        <a:off x="55" y="542478"/>
        <a:ext cx="5285955" cy="604800"/>
      </dsp:txXfrm>
    </dsp:sp>
    <dsp:sp modelId="{CEAF6B90-0D08-4139-8A68-D903CFB5F089}">
      <dsp:nvSpPr>
        <dsp:cNvPr id="0" name=""/>
        <dsp:cNvSpPr/>
      </dsp:nvSpPr>
      <dsp:spPr>
        <a:xfrm>
          <a:off x="55" y="1147278"/>
          <a:ext cx="5285955" cy="372891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Efficient for OLTP scenarios</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Used with traditional tables, where data is stored in row-wise format.</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Operators read all columns from qualifying rows based on predicate, and for each row it retrieves columns needed for the result set</a:t>
          </a:r>
          <a:endParaRPr lang="en-US" sz="2100" kern="1200" dirty="0"/>
        </a:p>
      </dsp:txBody>
      <dsp:txXfrm>
        <a:off x="55" y="1147278"/>
        <a:ext cx="5285955" cy="3728910"/>
      </dsp:txXfrm>
    </dsp:sp>
    <dsp:sp modelId="{70ECC63C-BB2F-4460-9AB9-B03533F828E3}">
      <dsp:nvSpPr>
        <dsp:cNvPr id="0" name=""/>
        <dsp:cNvSpPr/>
      </dsp:nvSpPr>
      <dsp:spPr>
        <a:xfrm>
          <a:off x="6026044" y="542478"/>
          <a:ext cx="5285955" cy="604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Batch mode execution</a:t>
          </a:r>
          <a:endParaRPr lang="en-US" sz="2400" kern="1200" dirty="0"/>
        </a:p>
      </dsp:txBody>
      <dsp:txXfrm>
        <a:off x="6026044" y="542478"/>
        <a:ext cx="5285955" cy="604800"/>
      </dsp:txXfrm>
    </dsp:sp>
    <dsp:sp modelId="{7DEF81B7-7B1F-432A-95D0-EB9FB294D1B8}">
      <dsp:nvSpPr>
        <dsp:cNvPr id="0" name=""/>
        <dsp:cNvSpPr/>
      </dsp:nvSpPr>
      <dsp:spPr>
        <a:xfrm>
          <a:off x="6026044" y="1147278"/>
          <a:ext cx="5285955" cy="372891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b="0" i="0" kern="1200" dirty="0"/>
            <a:t>Efficient for Data Warehousing scenarios</a:t>
          </a:r>
          <a:endParaRPr lang="en-US" sz="2100" kern="1200" dirty="0"/>
        </a:p>
        <a:p>
          <a:pPr marL="228600" lvl="1" indent="-228600" algn="l" defTabSz="933450">
            <a:lnSpc>
              <a:spcPct val="90000"/>
            </a:lnSpc>
            <a:spcBef>
              <a:spcPct val="0"/>
            </a:spcBef>
            <a:spcAft>
              <a:spcPct val="15000"/>
            </a:spcAft>
            <a:buChar char="•"/>
          </a:pPr>
          <a:r>
            <a:rPr lang="en-US" sz="2100" b="0" i="0" kern="1200" dirty="0"/>
            <a:t>Used to process multiple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Closely integrated with, and optimized around the ColumnStore storage format</a:t>
          </a:r>
          <a:endParaRPr lang="en-US" sz="2100" kern="1200" dirty="0"/>
        </a:p>
        <a:p>
          <a:pPr marL="228600" lvl="1" indent="-228600" algn="l" defTabSz="933450">
            <a:lnSpc>
              <a:spcPct val="90000"/>
            </a:lnSpc>
            <a:spcBef>
              <a:spcPct val="0"/>
            </a:spcBef>
            <a:spcAft>
              <a:spcPct val="15000"/>
            </a:spcAft>
            <a:buChar char="•"/>
          </a:pPr>
          <a:r>
            <a:rPr lang="en-US" sz="2100" b="0" i="0" kern="1200" dirty="0"/>
            <a:t>Operators read only the columns required for the result, from group of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Starting SQL Server 2019, Batch mode does not require a ColumnStore index as in the previous versions. </a:t>
          </a:r>
          <a:endParaRPr lang="en-US" sz="2100" kern="1200" dirty="0"/>
        </a:p>
      </dsp:txBody>
      <dsp:txXfrm>
        <a:off x="6026044" y="1147278"/>
        <a:ext cx="5285955" cy="37289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039D22-5AC4-42B5-9857-08FA4E60A21B}">
      <dsp:nvSpPr>
        <dsp:cNvPr id="0" name=""/>
        <dsp:cNvSpPr/>
      </dsp:nvSpPr>
      <dsp:spPr>
        <a:xfrm>
          <a:off x="443" y="174553"/>
          <a:ext cx="5494171" cy="17517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he </a:t>
          </a:r>
          <a:r>
            <a:rPr lang="en-US" sz="2400" b="1" kern="1200" dirty="0"/>
            <a:t>Object Plans</a:t>
          </a:r>
          <a:r>
            <a:rPr lang="en-US" sz="2400" kern="1200" dirty="0"/>
            <a:t> cache store (OBJCP) </a:t>
          </a:r>
        </a:p>
        <a:p>
          <a:pPr marL="0" lvl="0" indent="0" algn="ctr" defTabSz="1066800">
            <a:lnSpc>
              <a:spcPct val="90000"/>
            </a:lnSpc>
            <a:spcBef>
              <a:spcPct val="0"/>
            </a:spcBef>
            <a:spcAft>
              <a:spcPct val="35000"/>
            </a:spcAft>
            <a:buNone/>
          </a:pPr>
          <a:r>
            <a:rPr lang="en-US" sz="2400" kern="1200" dirty="0"/>
            <a:t>used for plans related to persisted objects (stored procedures, functions, and triggers).</a:t>
          </a:r>
        </a:p>
      </dsp:txBody>
      <dsp:txXfrm>
        <a:off x="443" y="174553"/>
        <a:ext cx="5494171" cy="1751713"/>
      </dsp:txXfrm>
    </dsp:sp>
    <dsp:sp modelId="{0607B600-7462-40FE-AD92-970B5E415713}">
      <dsp:nvSpPr>
        <dsp:cNvPr id="0" name=""/>
        <dsp:cNvSpPr/>
      </dsp:nvSpPr>
      <dsp:spPr>
        <a:xfrm>
          <a:off x="5660747" y="174553"/>
          <a:ext cx="5494171" cy="17517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he </a:t>
          </a:r>
          <a:r>
            <a:rPr lang="en-US" sz="2300" b="1" kern="1200" dirty="0"/>
            <a:t>SQL </a:t>
          </a:r>
          <a:r>
            <a:rPr lang="en-US" sz="2400" b="1" kern="1200" dirty="0"/>
            <a:t>Plans</a:t>
          </a:r>
          <a:r>
            <a:rPr lang="en-US" sz="2400" kern="1200" dirty="0"/>
            <a:t> cache store (SQLCP) </a:t>
          </a:r>
        </a:p>
        <a:p>
          <a:pPr marL="0" lvl="0" indent="0" algn="ctr" defTabSz="1022350">
            <a:lnSpc>
              <a:spcPct val="90000"/>
            </a:lnSpc>
            <a:spcBef>
              <a:spcPct val="0"/>
            </a:spcBef>
            <a:spcAft>
              <a:spcPct val="35000"/>
            </a:spcAft>
            <a:buNone/>
          </a:pPr>
          <a:r>
            <a:rPr lang="en-US" sz="2400" kern="1200" dirty="0"/>
            <a:t>used for plans related to autoparameterized, dynamic, or prepared queries.</a:t>
          </a:r>
        </a:p>
      </dsp:txBody>
      <dsp:txXfrm>
        <a:off x="5660747" y="174553"/>
        <a:ext cx="5494171" cy="175171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561AE-EB91-46FB-9CB1-DACF71BDC270}">
      <dsp:nvSpPr>
        <dsp:cNvPr id="0" name=""/>
        <dsp:cNvSpPr/>
      </dsp:nvSpPr>
      <dsp:spPr>
        <a:xfrm>
          <a:off x="51" y="185594"/>
          <a:ext cx="4913783" cy="662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Compilation</a:t>
          </a:r>
        </a:p>
      </dsp:txBody>
      <dsp:txXfrm>
        <a:off x="51" y="185594"/>
        <a:ext cx="4913783" cy="662400"/>
      </dsp:txXfrm>
    </dsp:sp>
    <dsp:sp modelId="{7A91FE17-D52D-42E4-9023-C82B59410906}">
      <dsp:nvSpPr>
        <dsp:cNvPr id="0" name=""/>
        <dsp:cNvSpPr/>
      </dsp:nvSpPr>
      <dsp:spPr>
        <a:xfrm>
          <a:off x="51" y="847994"/>
          <a:ext cx="4913783" cy="35986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creating a good enough query execution plan, as quickly as possible for a query batch. </a:t>
          </a:r>
        </a:p>
        <a:p>
          <a:pPr marL="0" lvl="1" indent="0" algn="l" defTabSz="1022350">
            <a:lnSpc>
              <a:spcPct val="90000"/>
            </a:lnSpc>
            <a:spcBef>
              <a:spcPct val="0"/>
            </a:spcBef>
            <a:spcAft>
              <a:spcPct val="15000"/>
            </a:spcAft>
            <a:buNone/>
          </a:pPr>
          <a:endParaRPr lang="en-US" sz="2300" kern="1200" dirty="0"/>
        </a:p>
        <a:p>
          <a:pPr marL="0" lvl="1" indent="0" algn="l" defTabSz="1022350">
            <a:lnSpc>
              <a:spcPct val="90000"/>
            </a:lnSpc>
            <a:spcBef>
              <a:spcPct val="0"/>
            </a:spcBef>
            <a:spcAft>
              <a:spcPct val="15000"/>
            </a:spcAft>
            <a:buNone/>
          </a:pPr>
          <a:r>
            <a:rPr lang="en-US" sz="2300" kern="1200" dirty="0"/>
            <a:t>Refer to both the compilation of non-DML constructs in SQL statements (control flow, DDL, etc.) and the process of Query Optimization.</a:t>
          </a:r>
        </a:p>
      </dsp:txBody>
      <dsp:txXfrm>
        <a:off x="51" y="847994"/>
        <a:ext cx="4913783" cy="3598695"/>
      </dsp:txXfrm>
    </dsp:sp>
    <dsp:sp modelId="{F78F4538-100B-4C82-9CFE-2186CFD513CF}">
      <dsp:nvSpPr>
        <dsp:cNvPr id="0" name=""/>
        <dsp:cNvSpPr/>
      </dsp:nvSpPr>
      <dsp:spPr>
        <a:xfrm>
          <a:off x="5532136" y="144704"/>
          <a:ext cx="4913783" cy="662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Query Execution</a:t>
          </a:r>
        </a:p>
      </dsp:txBody>
      <dsp:txXfrm>
        <a:off x="5532136" y="144704"/>
        <a:ext cx="4913783" cy="662400"/>
      </dsp:txXfrm>
    </dsp:sp>
    <dsp:sp modelId="{104DBD2F-E6D9-4451-9F99-A11E3EE6A967}">
      <dsp:nvSpPr>
        <dsp:cNvPr id="0" name=""/>
        <dsp:cNvSpPr/>
      </dsp:nvSpPr>
      <dsp:spPr>
        <a:xfrm>
          <a:off x="5601764" y="847994"/>
          <a:ext cx="4913783" cy="359869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executing the plan that is created during query compilation and optimization.</a:t>
          </a:r>
        </a:p>
      </dsp:txBody>
      <dsp:txXfrm>
        <a:off x="5601764" y="847994"/>
        <a:ext cx="4913783" cy="35986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97A6CF-9EAC-4430-9593-81E6FD90A45A}">
      <dsp:nvSpPr>
        <dsp:cNvPr id="0" name=""/>
        <dsp:cNvSpPr/>
      </dsp:nvSpPr>
      <dsp:spPr>
        <a:xfrm>
          <a:off x="0" y="13366"/>
          <a:ext cx="11056625" cy="13095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Most recompilations are required either for statement correctness or to obtain potentially faster query execution plan.</a:t>
          </a:r>
          <a:endParaRPr lang="en-US" sz="2200" kern="1200"/>
        </a:p>
      </dsp:txBody>
      <dsp:txXfrm>
        <a:off x="63926" y="77292"/>
        <a:ext cx="10928773" cy="1181670"/>
      </dsp:txXfrm>
    </dsp:sp>
    <dsp:sp modelId="{F4FEF3FC-9BCD-49CC-A9FB-C74CF051F99F}">
      <dsp:nvSpPr>
        <dsp:cNvPr id="0" name=""/>
        <dsp:cNvSpPr/>
      </dsp:nvSpPr>
      <dsp:spPr>
        <a:xfrm>
          <a:off x="0" y="1386249"/>
          <a:ext cx="11056625" cy="13095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engine detects changes that invalidate execution plan(s) and marks those as not valid. New plan must be recompiled for the next query execution.</a:t>
          </a:r>
          <a:endParaRPr lang="en-US" sz="2200" kern="1200"/>
        </a:p>
      </dsp:txBody>
      <dsp:txXfrm>
        <a:off x="63926" y="1450175"/>
        <a:ext cx="10928773" cy="1181670"/>
      </dsp:txXfrm>
    </dsp:sp>
    <dsp:sp modelId="{9656EFC1-6C72-43BD-B835-5BA8B28AFC60}">
      <dsp:nvSpPr>
        <dsp:cNvPr id="0" name=""/>
        <dsp:cNvSpPr/>
      </dsp:nvSpPr>
      <dsp:spPr>
        <a:xfrm>
          <a:off x="0" y="2759131"/>
          <a:ext cx="11056625" cy="13095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tarting with SQL Server 2005, whenever a statement within a batch causes recompilation, only the statement inside the batch that triggers recompilation is recompiled. </a:t>
          </a:r>
          <a:endParaRPr lang="en-US" sz="2200" kern="1200"/>
        </a:p>
      </dsp:txBody>
      <dsp:txXfrm>
        <a:off x="63926" y="2823057"/>
        <a:ext cx="10928773" cy="118167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4794B-3E4D-49A5-9802-3FDD49AD4833}">
      <dsp:nvSpPr>
        <dsp:cNvPr id="0" name=""/>
        <dsp:cNvSpPr/>
      </dsp:nvSpPr>
      <dsp:spPr>
        <a:xfrm>
          <a:off x="4090" y="126050"/>
          <a:ext cx="2459851" cy="92574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able / Index Changes</a:t>
          </a:r>
        </a:p>
      </dsp:txBody>
      <dsp:txXfrm>
        <a:off x="4090" y="126050"/>
        <a:ext cx="2459851" cy="925748"/>
      </dsp:txXfrm>
    </dsp:sp>
    <dsp:sp modelId="{692384E3-A670-4ABB-966E-890EA55F6275}">
      <dsp:nvSpPr>
        <dsp:cNvPr id="0" name=""/>
        <dsp:cNvSpPr/>
      </dsp:nvSpPr>
      <dsp:spPr>
        <a:xfrm>
          <a:off x="4090" y="1051798"/>
          <a:ext cx="2459851" cy="38910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objects referenced by the query (ALTER TABLE and ALTER VIEW).</a:t>
          </a:r>
        </a:p>
        <a:p>
          <a:pPr marL="171450" lvl="1" indent="-171450" algn="l" defTabSz="800100">
            <a:lnSpc>
              <a:spcPct val="90000"/>
            </a:lnSpc>
            <a:spcBef>
              <a:spcPct val="0"/>
            </a:spcBef>
            <a:spcAft>
              <a:spcPct val="15000"/>
            </a:spcAft>
            <a:buChar char="•"/>
          </a:pPr>
          <a:r>
            <a:rPr lang="en-US" sz="1800" kern="1200" dirty="0"/>
            <a:t>Changing or dropping any indexes used by the execution plan.</a:t>
          </a:r>
        </a:p>
      </dsp:txBody>
      <dsp:txXfrm>
        <a:off x="4090" y="1051798"/>
        <a:ext cx="2459851" cy="3891037"/>
      </dsp:txXfrm>
    </dsp:sp>
    <dsp:sp modelId="{49DF05AA-5F25-4000-9F09-8DCC5484F4DF}">
      <dsp:nvSpPr>
        <dsp:cNvPr id="0" name=""/>
        <dsp:cNvSpPr/>
      </dsp:nvSpPr>
      <dsp:spPr>
        <a:xfrm>
          <a:off x="2808321" y="126050"/>
          <a:ext cx="2459851" cy="92574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ored Procedures</a:t>
          </a:r>
        </a:p>
      </dsp:txBody>
      <dsp:txXfrm>
        <a:off x="2808321" y="126050"/>
        <a:ext cx="2459851" cy="925748"/>
      </dsp:txXfrm>
    </dsp:sp>
    <dsp:sp modelId="{BC544579-0BC5-4301-AA18-F0F341407B87}">
      <dsp:nvSpPr>
        <dsp:cNvPr id="0" name=""/>
        <dsp:cNvSpPr/>
      </dsp:nvSpPr>
      <dsp:spPr>
        <a:xfrm>
          <a:off x="2808321" y="1051798"/>
          <a:ext cx="2459851" cy="38910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a single procedure, which would drop all plans for that procedure from the cache (ALTER PROCEDURE).</a:t>
          </a:r>
        </a:p>
        <a:p>
          <a:pPr marL="171450" lvl="1" indent="-171450" algn="l" defTabSz="800100">
            <a:lnSpc>
              <a:spcPct val="90000"/>
            </a:lnSpc>
            <a:spcBef>
              <a:spcPct val="0"/>
            </a:spcBef>
            <a:spcAft>
              <a:spcPct val="15000"/>
            </a:spcAft>
            <a:buChar char="•"/>
          </a:pPr>
          <a:r>
            <a:rPr lang="en-US" sz="1800" kern="1200" dirty="0"/>
            <a:t>Explicit call to sp_recompile.</a:t>
          </a:r>
        </a:p>
        <a:p>
          <a:pPr marL="171450" lvl="1" indent="-171450" algn="l" defTabSz="800100">
            <a:lnSpc>
              <a:spcPct val="90000"/>
            </a:lnSpc>
            <a:spcBef>
              <a:spcPct val="0"/>
            </a:spcBef>
            <a:spcAft>
              <a:spcPct val="15000"/>
            </a:spcAft>
            <a:buChar char="•"/>
          </a:pPr>
          <a:r>
            <a:rPr lang="en-US" sz="1800" kern="1200" dirty="0"/>
            <a:t>Executing a stored procedure using the WITH RECOMPILE option.</a:t>
          </a:r>
        </a:p>
      </dsp:txBody>
      <dsp:txXfrm>
        <a:off x="2808321" y="1051798"/>
        <a:ext cx="2459851" cy="3891037"/>
      </dsp:txXfrm>
    </dsp:sp>
    <dsp:sp modelId="{1D63FA16-3735-498C-9B05-F128A7CD58DC}">
      <dsp:nvSpPr>
        <dsp:cNvPr id="0" name=""/>
        <dsp:cNvSpPr/>
      </dsp:nvSpPr>
      <dsp:spPr>
        <a:xfrm>
          <a:off x="5612552" y="126050"/>
          <a:ext cx="2459851" cy="92574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ata Volume </a:t>
          </a:r>
        </a:p>
      </dsp:txBody>
      <dsp:txXfrm>
        <a:off x="5612552" y="126050"/>
        <a:ext cx="2459851" cy="925748"/>
      </dsp:txXfrm>
    </dsp:sp>
    <dsp:sp modelId="{987B902B-F277-421C-BE02-7F35A336CBAE}">
      <dsp:nvSpPr>
        <dsp:cNvPr id="0" name=""/>
        <dsp:cNvSpPr/>
      </dsp:nvSpPr>
      <dsp:spPr>
        <a:xfrm>
          <a:off x="5612552" y="1051798"/>
          <a:ext cx="2459851" cy="38910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pdates on statistics used by the execution plan</a:t>
          </a:r>
        </a:p>
        <a:p>
          <a:pPr marL="171450" lvl="1" indent="-171450" algn="l" defTabSz="800100">
            <a:lnSpc>
              <a:spcPct val="90000"/>
            </a:lnSpc>
            <a:spcBef>
              <a:spcPct val="0"/>
            </a:spcBef>
            <a:spcAft>
              <a:spcPct val="15000"/>
            </a:spcAft>
            <a:buChar char="•"/>
          </a:pPr>
          <a:r>
            <a:rPr lang="en-US" sz="1800" kern="1200" dirty="0"/>
            <a:t>For tables with triggers, if the number of rows in the inserted or deleted tables grows significantly.</a:t>
          </a:r>
        </a:p>
      </dsp:txBody>
      <dsp:txXfrm>
        <a:off x="5612552" y="1051798"/>
        <a:ext cx="2459851" cy="3891037"/>
      </dsp:txXfrm>
    </dsp:sp>
    <dsp:sp modelId="{A1B832A2-484A-4A54-B410-9FEFA46DEBBC}">
      <dsp:nvSpPr>
        <dsp:cNvPr id="0" name=""/>
        <dsp:cNvSpPr/>
      </dsp:nvSpPr>
      <dsp:spPr>
        <a:xfrm>
          <a:off x="8416783" y="126050"/>
          <a:ext cx="2459851" cy="92574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ther</a:t>
          </a:r>
        </a:p>
      </dsp:txBody>
      <dsp:txXfrm>
        <a:off x="8416783" y="126050"/>
        <a:ext cx="2459851" cy="925748"/>
      </dsp:txXfrm>
    </dsp:sp>
    <dsp:sp modelId="{8AE9F398-0D24-4499-AAA5-821316E97008}">
      <dsp:nvSpPr>
        <dsp:cNvPr id="0" name=""/>
        <dsp:cNvSpPr/>
      </dsp:nvSpPr>
      <dsp:spPr>
        <a:xfrm>
          <a:off x="8416783" y="1051798"/>
          <a:ext cx="2459851" cy="38910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arge numbers of changes to keys (generated by statements from other users that modify a table referenced by the query).</a:t>
          </a:r>
        </a:p>
        <a:p>
          <a:pPr marL="171450" lvl="1" indent="-171450" algn="l" defTabSz="800100">
            <a:lnSpc>
              <a:spcPct val="90000"/>
            </a:lnSpc>
            <a:spcBef>
              <a:spcPct val="0"/>
            </a:spcBef>
            <a:spcAft>
              <a:spcPct val="15000"/>
            </a:spcAft>
            <a:buChar char="•"/>
          </a:pPr>
          <a:r>
            <a:rPr lang="en-US" sz="1800" kern="1200" dirty="0"/>
            <a:t>Temporary table changes</a:t>
          </a:r>
        </a:p>
      </dsp:txBody>
      <dsp:txXfrm>
        <a:off x="8416783" y="1051798"/>
        <a:ext cx="2459851" cy="389103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1.08.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11/2022</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12/dn148262(v=msdn.10)"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showplan-logical-and-physical-operators-reference?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live-query-statistics"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cached-plans-transact-sql?view=sql-server-ver15" TargetMode="External"/><Relationship Id="rId7" Type="http://schemas.openxmlformats.org/officeDocument/2006/relationships/hyperlink" Target="https://docs.microsoft.com/en-us/sql/relational-databases/system-dynamic-management-views/sys-dm-exec-sql-text-transact-sql?view=sql-server-ver15"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exec-query-plan-transact-sql?view=sql-server-ver15" TargetMode="External"/><Relationship Id="rId5" Type="http://schemas.openxmlformats.org/officeDocument/2006/relationships/hyperlink" Target="https://docs.microsoft.com/en-us/sql/relational-databases/system-dynamic-management-views/sys-dm-exec-procedure-stats-transact-sql?view=sql-server-ver15" TargetMode="External"/><Relationship Id="rId4" Type="http://schemas.openxmlformats.org/officeDocument/2006/relationships/hyperlink" Target="https://docs.microsoft.com/en-us/sql/relational-databases/system-dynamic-management-views/sys-dm-exec-query-stats-transact-sql?view=sql-server-ver15"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query-stats-transact-sql?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github.com/microsoft/tigertoolbox/tree/master/Mining-PlanCach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database-engine/configure-windows/optimize-for-ad-hoc-workloads-server-configuration-option?view=sql-server-ver15"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view=sql-server-ver15" TargetMode="External"/><Relationship Id="rId7" Type="http://schemas.openxmlformats.org/officeDocument/2006/relationships/hyperlink" Target="https://docs.microsoft.com/en-us/sql/relational-databases/system-catalog-views/sys-query-store-query-transact-sql"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docs.microsoft.com/en-us/archive/blogs/psssql/how-simple-parameterization-works" TargetMode="External"/><Relationship Id="rId5" Type="http://schemas.openxmlformats.org/officeDocument/2006/relationships/hyperlink" Target="https://docs.microsoft.com/en-us/sql/relational-databases/query-processing-architecture-guide?view=sql-server-ver15#ForcedParam" TargetMode="External"/><Relationship Id="rId4" Type="http://schemas.openxmlformats.org/officeDocument/2006/relationships/hyperlink" Target="https://docs.microsoft.com/en-us/sql/relational-databases/query-processing-architecture-guide?view=sql-server-ver15#SimpleParam"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47.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recompile-transact-sql?view=sql-server-ver15" TargetMode="External"/><Relationship Id="rId4" Type="http://schemas.openxmlformats.org/officeDocument/2006/relationships/hyperlink" Target="https://docs.microsoft.com/en-us/sql/t-sql/statements/create-procedure-transact-sql?view=sql-server-ver15"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a cost-based optimizer. Each possible execution plan has an associated cost in terms of the amount of computing resources used. The Query Optimizer must analyze the possible plans and choose the one with the lowest estimated cost. Some complex SELECT statements have thousands of possible execution plans. In these cases, the Query Optimizer does not analyze all possible combinations. Instead, it uses complex algorithms to find an execution plan that has a cost reasonably close to the minimum possible cost.</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does not choose only the execution plan with the lowest resource cost; it chooses the plan that returns results to the user with a reasonable cost in resources and that returns the results the fastest. For example, processing a query in parallel typically uses more resources than processing it serially, but completes the query faster. The SQL Server Query Optimizer will use a parallel execution plan to return results if the load on the server will not be adversely affected.</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dirty="0">
                <a:effectLst/>
                <a:latin typeface="Times New Roman" panose="02020603050405020304" pitchFamily="18"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relies on distribution statistics when it estimates the resource costs of different methods for extracting information from a table or index.</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important because it enables the database server to adjust dynamically to changing conditions in the database without requiring input from a programmer or database administrator. This enables programmers to focus on describing the final result of the query. They can trust that the SQL Server Query Optimizer will build an efficient execution plan for the state of the database every time the statement is run.</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rivial plan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SQL Server knows that there is only one viable plan for a query, a lot of work can be avoided. For example, where there is only one possible plan:</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query that consists of an INSERT with a VALUES clause.</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LECT statement for which all the columns are among the keys of a unique composite index, and that index is the only one that is relevant. No other index has that set of columns in it. </a:t>
            </a:r>
            <a:endParaRPr lang="en-US" sz="1200" dirty="0">
              <a:effectLst/>
              <a:latin typeface="Times New Roman" panose="02020603050405020304" pitchFamily="18" charset="0"/>
              <a:ea typeface="Times New Roman" panose="02020603050405020304" pitchFamily="18" charset="0"/>
            </a:endParaRPr>
          </a:p>
          <a:p>
            <a:pPr marL="0" marR="0" indent="-11874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trivial plan query optimizer finds the really obvious plans that are typically very inexpensive. This saves the query optimizer from having to consider every possible plan, which can be costly and can outweigh any benefit provided by well-optimized queries.</a:t>
            </a:r>
          </a:p>
          <a:p>
            <a:pPr marL="0" marR="0" indent="-11874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implification </a:t>
            </a:r>
            <a:endParaRPr lang="en-US" sz="1200" dirty="0">
              <a:effectLst/>
              <a:latin typeface="Times New Roman" panose="02020603050405020304" pitchFamily="18" charset="0"/>
              <a:ea typeface="Times New Roman" panose="02020603050405020304" pitchFamily="18" charset="0"/>
            </a:endParaRPr>
          </a:p>
          <a:p>
            <a:pPr marL="0" marR="0" indent="-10985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there is no trivial plan, SQL Server will perform a simplification. These are usually syntactic transformations of the query itself, to look for commutative properties and operations that can be rearranged. There is no cost or available index analysis. SQL Server then loads up the metadata, including the statistical information on the indexes. </a:t>
            </a:r>
          </a:p>
          <a:p>
            <a:pPr marL="0" marR="0" indent="-10985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st-based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t of transformation rules is followed that apply various permutations of data access strategies, join orders, aggregation placement, subquery transformations, and other rules that guarantee that a correct result is return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ptimization is broken up into three search phases to prevent the process from taking much longer than the execution of the query.</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QL Server evaluates the cost of the cheapest plan after each phase and executes that plan, if the plan is cheap enough. Otherwise, the query optimizer runs the next phase, which involves another set of usually more complex rule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0 – Transactional Processing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Contains a very limited set of rules and is applied only to simple queries with three or fewer tables. A limited number of join orders are evaluated, which may generate many potential plan candidates. Hash and nested loop join strategies are considered. If a plan with an estimated cost below 0.2 is found, the optimization ends and the query is executed. This phase is also known as the Transaction Processing phase, because query plans produced by this phase are typically found for queries in online transaction processing (OLTP) application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1 – Quick Plan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More transformation rules and different join orders are evaluated. If the best plan costs less than 1.0, the optimization ends. </a:t>
            </a:r>
            <a:endParaRPr lang="en-US" sz="1200" dirty="0">
              <a:effectLst/>
              <a:latin typeface="Times New Roman" panose="02020603050405020304" pitchFamily="18" charset="0"/>
              <a:ea typeface="Times New Roman" panose="02020603050405020304" pitchFamily="18" charset="0"/>
            </a:endParaRPr>
          </a:p>
          <a:p>
            <a:pPr marL="484505"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query optimizer has considered only non-parallel execution plans so far. Phase 1 is repeated with the goal of finding the best parallel plan if:</a:t>
            </a:r>
            <a:endParaRPr lang="en-US" sz="1200" dirty="0">
              <a:effectLst/>
              <a:latin typeface="Times New Roman" panose="02020603050405020304" pitchFamily="18" charset="0"/>
              <a:ea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re than one logical CPU is available to SQL Server.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least expensive plan produced by Phase 1 costs more than the Cost Threshold for Parallelism.</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cost is &gt;= 1.</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2 – Full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The cost of the serial and parallel plans are compared and Phase 2 is executed for the cheaper plan. Outer join reordering and automatic indexed view substitution for multi-table views are also consider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 internal timeout can occur and the Query Optimizer stops the optimization process and returns the least expensive plan it has found so far. This timeout event is also shown on the properties of a graphical plan as </a:t>
            </a: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ason For Early Termination of Statement Optimization </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r on an XML plan as </a:t>
            </a:r>
            <a:r>
              <a:rPr lang="en-US" sz="1000" b="1"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atementOptmEarlyAbortReason</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should be aware that if the full optimization phase produced a parallel plan for this query, it does not necessarily mean that the plan will be executed on multiple processors. If the machine is very busy, and cannot support running a single query on multiple CPUs, the plan </a:t>
            </a:r>
            <a:endParaRPr lang="en-US" sz="1200" dirty="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0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39057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766395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882534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3438398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8/11/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04973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basic guidelines for analyzing a query plan are:</a:t>
            </a:r>
          </a:p>
          <a:p>
            <a:pPr lvl="1"/>
            <a:r>
              <a:rPr lang="en-US" dirty="0"/>
              <a:t>Flow of data is read from right to left.</a:t>
            </a:r>
          </a:p>
          <a:p>
            <a:pPr lvl="1"/>
            <a:r>
              <a:rPr lang="en-US" dirty="0"/>
              <a:t>The width of the arrows gives an indication of the number of rows in each dataset, such as the one coming from the Customer table CL IX scan. This can often be a clue to high resource usage.</a:t>
            </a:r>
          </a:p>
          <a:p>
            <a:pPr lvl="0"/>
            <a:r>
              <a:rPr lang="en-US" dirty="0"/>
              <a:t>For joins:</a:t>
            </a:r>
          </a:p>
          <a:p>
            <a:pPr lvl="1"/>
            <a:r>
              <a:rPr lang="en-US" dirty="0"/>
              <a:t>The outer table appears on top.</a:t>
            </a:r>
          </a:p>
          <a:p>
            <a:pPr lvl="1"/>
            <a:r>
              <a:rPr lang="en-US" dirty="0"/>
              <a:t>Resultsets are created from each join pair, which is then passed to the next join.</a:t>
            </a:r>
          </a:p>
          <a:p>
            <a:pPr lvl="0"/>
            <a:r>
              <a:rPr lang="en-US" dirty="0"/>
              <a:t>Two crucial facts affect join performance:</a:t>
            </a:r>
          </a:p>
          <a:p>
            <a:pPr lvl="1"/>
            <a:r>
              <a:rPr lang="en-US" dirty="0"/>
              <a:t>The order in which more than two tables are joined.</a:t>
            </a:r>
          </a:p>
          <a:p>
            <a:pPr lvl="1"/>
            <a:r>
              <a:rPr lang="en-US" dirty="0"/>
              <a:t>The selection of outer/inner table.</a:t>
            </a:r>
          </a:p>
          <a:p>
            <a:r>
              <a:rPr lang="en-US" dirty="0"/>
              <a:t>Joins producing smaller result sets are performed first.</a:t>
            </a:r>
          </a:p>
          <a:p>
            <a:r>
              <a:rPr lang="en-US" dirty="0"/>
              <a:t>Local predicates are applied before the join.</a:t>
            </a:r>
          </a:p>
          <a:p>
            <a:r>
              <a:rPr lang="en-US" dirty="0"/>
              <a:t>Joins that reduce the number of rows are performed first.</a:t>
            </a:r>
          </a:p>
          <a:p>
            <a:r>
              <a:rPr lang="en-US" dirty="0"/>
              <a:t>Aggregation may be performed before the join.</a:t>
            </a:r>
          </a:p>
          <a:p>
            <a:endParaRPr lang="en-US" dirty="0"/>
          </a:p>
          <a:p>
            <a:r>
              <a:rPr lang="en-US" dirty="0"/>
              <a:t>This is all dependent on the accuracy of the statistics the Microsoft</a:t>
            </a:r>
            <a:r>
              <a:rPr lang="en-US" baseline="0" dirty="0"/>
              <a:t> </a:t>
            </a:r>
            <a:r>
              <a:rPr lang="en-US" dirty="0"/>
              <a:t>SQL Server Query processor has at compilation time.</a:t>
            </a:r>
          </a:p>
          <a:p>
            <a:endParaRPr lang="en-US" dirty="0"/>
          </a:p>
          <a:p>
            <a:r>
              <a:rPr lang="en-US" b="1" dirty="0"/>
              <a:t>Example Query:</a:t>
            </a:r>
          </a:p>
          <a:p>
            <a:endParaRPr lang="en-US" b="1" dirty="0"/>
          </a:p>
          <a:p>
            <a:pPr marL="173028" lvl="1" indent="0">
              <a:buNone/>
            </a:pPr>
            <a:r>
              <a:rPr lang="en-US" dirty="0">
                <a:latin typeface="Consolas" panose="020B0609020204030204" pitchFamily="49" charset="0"/>
              </a:rPr>
              <a:t>SELECT p.Title + ' ' + p.FirstName + ' ' + p.LastName AS FullName, c.AccountNumber, s.Name</a:t>
            </a:r>
          </a:p>
          <a:p>
            <a:pPr marL="173028" lvl="1" indent="0">
              <a:buNone/>
            </a:pPr>
            <a:r>
              <a:rPr lang="en-US" dirty="0">
                <a:latin typeface="Consolas" panose="020B0609020204030204" pitchFamily="49" charset="0"/>
              </a:rPr>
              <a:t>FROM Person.Person AS p </a:t>
            </a:r>
          </a:p>
          <a:p>
            <a:pPr marL="173028" lvl="1" indent="0">
              <a:buNone/>
            </a:pPr>
            <a:r>
              <a:rPr lang="en-US" dirty="0">
                <a:latin typeface="Consolas" panose="020B0609020204030204" pitchFamily="49" charset="0"/>
              </a:rPr>
              <a:t>INNER JOIN Sales.Customer AS c ON c.PersonID = p.BusinessEntityID </a:t>
            </a:r>
          </a:p>
          <a:p>
            <a:pPr marL="173028" lvl="1" indent="0">
              <a:buNone/>
            </a:pPr>
            <a:r>
              <a:rPr lang="en-US" dirty="0">
                <a:latin typeface="Consolas" panose="020B0609020204030204" pitchFamily="49" charset="0"/>
              </a:rPr>
              <a:t>INNER JOIN Sales.Store AS s ON s.BusinessEntityID = c.StoreID</a:t>
            </a:r>
          </a:p>
          <a:p>
            <a:pPr marL="173028" lvl="1" indent="0">
              <a:buNone/>
            </a:pPr>
            <a:r>
              <a:rPr lang="en-US" dirty="0">
                <a:latin typeface="Consolas" panose="020B0609020204030204" pitchFamily="49" charset="0"/>
              </a:rPr>
              <a:t>WHERE p.LastName = 'Koski’</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 1 and 2 are joined using a nested loops join, creating resultset 3.</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3 and 4 are joined using a hash match join, creating resultset 5.</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5 and 6 are joined using a nested loops join, creating a resultset for the Select claus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AU" dirty="0">
              <a:solidFill>
                <a:srgbClr val="000000"/>
              </a:solidFill>
              <a:latin typeface="Segoe UI" panose="020B0502040204020203" pitchFamily="34" charset="0"/>
              <a:cs typeface="Segoe UI" panose="020B0502040204020203" pitchFamily="34" charset="0"/>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659496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Arrows represent the data flow between the iterators. </a:t>
            </a:r>
          </a:p>
          <a:p>
            <a:pPr marL="171450" indent="-171450">
              <a:buFont typeface="Arial" panose="020B0604020202020204" pitchFamily="34" charset="0"/>
              <a:buChar char="•"/>
            </a:pPr>
            <a:endParaRPr lang="en-US" sz="882"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ToolTips provide detailed help, including a description of statistical data on each iterator; this includes estimates of the number of rows generated by each operator (that is, the cardinality estimates), the average row size, and the cost of the operator</a:t>
            </a:r>
            <a:r>
              <a:rPr lang="en-US" sz="882" b="0" i="0" u="none" strike="noStrike" kern="1200" baseline="0">
                <a:solidFill>
                  <a:schemeClr val="tx1"/>
                </a:solidFill>
                <a:latin typeface="+mn-lt"/>
                <a:ea typeface="+mn-ea"/>
                <a:cs typeface="+mn-cs"/>
              </a:rPr>
              <a:t>.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478650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u="none" strike="noStrike" kern="1200" baseline="0" dirty="0">
                <a:solidFill>
                  <a:schemeClr val="tx1"/>
                </a:solidFill>
                <a:latin typeface="+mn-lt"/>
                <a:ea typeface="+mn-ea"/>
                <a:cs typeface="+mn-cs"/>
              </a:rPr>
              <a:t>The Management Studio Properties sheet includes even more detailed information about each operator and about the overall query plan.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632941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kern="1200" baseline="0" dirty="0">
                <a:solidFill>
                  <a:schemeClr val="tx1"/>
                </a:solidFill>
                <a:effectLst/>
                <a:latin typeface="+mn-lt"/>
                <a:ea typeface="+mn-ea"/>
                <a:cs typeface="+mn-cs"/>
              </a:rPr>
              <a:t>SQL Server Management Studio provides the ability to view the live execution plan of an active query. This live query plan provides real-time insights into the query execution process as the controls flow from one </a:t>
            </a:r>
            <a:r>
              <a:rPr lang="en-US" sz="882" b="0" i="0" kern="1200" baseline="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query plan operator</a:t>
            </a:r>
            <a:r>
              <a:rPr lang="en-US" sz="882" b="0" i="0" kern="1200" baseline="0" dirty="0">
                <a:solidFill>
                  <a:schemeClr val="tx1"/>
                </a:solidFill>
                <a:effectLst/>
                <a:latin typeface="+mn-lt"/>
                <a:ea typeface="+mn-ea"/>
                <a:cs typeface="+mn-cs"/>
              </a:rPr>
              <a:t> to another. The live query plan displays the overall query progress and operator-level run-time execution statistics such as the number of rows produced, elapsed time, operator progress, and so on. Because this data is available in real time without needing to wait for the query to complete, these execution statistics are extremely useful for debugging query performance issues.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0" i="0" kern="1200" baseline="0" dirty="0">
                <a:solidFill>
                  <a:schemeClr val="tx1"/>
                </a:solidFill>
                <a:effectLst/>
                <a:latin typeface="+mn-lt"/>
                <a:ea typeface="+mn-ea"/>
                <a:cs typeface="+mn-cs"/>
              </a:rPr>
              <a:t>This feature is available beginning with SQL Server 2016 (13.x) Management Studio, however it can work with SQL Server 2014 (12.x).</a:t>
            </a:r>
            <a:endParaRPr lang="es-MX" dirty="0"/>
          </a:p>
          <a:p>
            <a:pPr marL="0" indent="0">
              <a:buFont typeface="Arial" panose="020B0604020202020204" pitchFamily="34" charset="0"/>
              <a:buNone/>
            </a:pPr>
            <a:endParaRPr lang="es-MX" dirty="0"/>
          </a:p>
          <a:p>
            <a:pPr marL="0" indent="0">
              <a:buFont typeface="Arial" panose="020B0604020202020204" pitchFamily="34" charset="0"/>
              <a:buNone/>
            </a:pPr>
            <a:r>
              <a:rPr lang="en-US" sz="882" b="0" i="0" kern="1200" baseline="0" dirty="0">
                <a:solidFill>
                  <a:schemeClr val="tx1"/>
                </a:solidFill>
                <a:effectLst/>
                <a:latin typeface="+mn-lt"/>
                <a:ea typeface="+mn-ea"/>
                <a:cs typeface="+mn-cs"/>
              </a:rPr>
              <a:t>Internally, live query statistics leverages the sys.dm_exec_query_profiles DMV.</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r>
              <a:rPr lang="en-US" dirty="0"/>
              <a:t>To view live query statistics for one query, on the tools menu click the </a:t>
            </a:r>
            <a:r>
              <a:rPr lang="en-US" b="1" dirty="0"/>
              <a:t>Include Live Query Statistics</a:t>
            </a:r>
            <a:r>
              <a:rPr lang="en-US" dirty="0"/>
              <a:t> icon. The live execution plan can also be accessed from the </a:t>
            </a:r>
            <a:r>
              <a:rPr lang="en-US" b="1" dirty="0"/>
              <a:t>Activity Monitor</a:t>
            </a:r>
            <a:r>
              <a:rPr lang="en-US" b="0" dirty="0"/>
              <a:t>.</a:t>
            </a:r>
            <a:r>
              <a:rPr lang="en-US" dirty="0"/>
              <a:t>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dirty="0"/>
              <a:t>For further information refer to:</a:t>
            </a:r>
          </a:p>
          <a:p>
            <a:pPr marL="0" indent="0">
              <a:buFont typeface="Arial" panose="020B0604020202020204" pitchFamily="34" charset="0"/>
              <a:buNone/>
            </a:pPr>
            <a:r>
              <a:rPr lang="en-US" dirty="0">
                <a:hlinkClick r:id="rId4"/>
              </a:rPr>
              <a:t>https://docs.microsoft.com/en-us/sql/relational-databases/performance/live-query-statistic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2152423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For further information refer to:</a:t>
            </a:r>
          </a:p>
          <a:p>
            <a:pPr marL="171450" indent="-171450">
              <a:buFont typeface="Arial" panose="020B0604020202020204" pitchFamily="34" charset="0"/>
              <a:buChar char="•"/>
            </a:pPr>
            <a:r>
              <a:rPr lang="en-US" i="1" noProof="0" dirty="0"/>
              <a:t>https://docs.microsoft.com/en-us/sql/relational-databases/showplan-logical-and-physical-operators-reference</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8920316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12534240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1800" dirty="0">
                <a:solidFill>
                  <a:srgbClr val="000000"/>
                </a:solidFill>
                <a:latin typeface="Consolas" panose="020B0609020204030204" pitchFamily="49" charset="0"/>
              </a:rPr>
              <a:t>M07L03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AnalyzingPlanOperators.sql</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LiveQueryStatist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dirty="0"/>
              <a:t>Block of SQL Server’s working set memory dynamically shared with the buffer pool.</a:t>
            </a:r>
          </a:p>
          <a:p>
            <a:r>
              <a:rPr lang="en-US" dirty="0"/>
              <a:t>Contains compiled and optimized query plans for reuse.</a:t>
            </a:r>
          </a:p>
          <a:p>
            <a:endParaRPr lang="en-US" dirty="0"/>
          </a:p>
          <a:p>
            <a:r>
              <a:rPr lang="en-US" dirty="0"/>
              <a:t>This is generally beneficial as creating query plans is costly both in time and CPU.</a:t>
            </a:r>
          </a:p>
          <a:p>
            <a:r>
              <a:rPr lang="en-US" dirty="0"/>
              <a:t>But, plan reuse isn’t always appropriate as when differing parameters yield results sets of widely varying sizes.  Like, Nested Loop Joins are a cost-effective way to join smaller result sets, but are prohibitively expensive for very large result sets.</a:t>
            </a:r>
          </a:p>
          <a:p>
            <a:endParaRPr lang="en-US" dirty="0"/>
          </a:p>
          <a:p>
            <a:r>
              <a:rPr lang="en-US" i="1" dirty="0"/>
              <a:t>Ad hoc </a:t>
            </a:r>
            <a:r>
              <a:rPr lang="en-US" dirty="0"/>
              <a:t>SQL statements are less likely to be reused as the text of subsequent SQL statements much match </a:t>
            </a:r>
            <a:r>
              <a:rPr lang="en-US" u="sng" dirty="0"/>
              <a:t>exactly</a:t>
            </a:r>
            <a:r>
              <a:rPr lang="en-US" dirty="0"/>
              <a:t> to achieve reuse. This can bloat the plan cache with single-use plans. Address this by enabling the </a:t>
            </a:r>
            <a:r>
              <a:rPr lang="en-US" b="1" dirty="0"/>
              <a:t>Optimize for ad hoc workloads </a:t>
            </a:r>
            <a:r>
              <a:rPr lang="en-US" dirty="0"/>
              <a:t>server configuration option. Also use parameterized SQL and stored procedures in preference to </a:t>
            </a:r>
            <a:r>
              <a:rPr lang="en-US" i="1" dirty="0"/>
              <a:t>ad hoc </a:t>
            </a:r>
            <a:r>
              <a:rPr lang="en-US" dirty="0"/>
              <a:t>SQL.</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2676444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kern="1200" baseline="0" dirty="0">
                <a:solidFill>
                  <a:schemeClr val="tx1"/>
                </a:solidFill>
                <a:effectLst/>
                <a:latin typeface="+mn-lt"/>
                <a:ea typeface="+mn-ea"/>
                <a:cs typeface="+mn-cs"/>
              </a:rPr>
              <a:t>Maximum number of entries the plan cache can hold:</a:t>
            </a:r>
          </a:p>
          <a:p>
            <a:pPr lvl="1" rtl="0" fontAlgn="ctr"/>
            <a:r>
              <a:rPr lang="en-US" sz="900" kern="1200" baseline="0" dirty="0">
                <a:solidFill>
                  <a:schemeClr val="tx1"/>
                </a:solidFill>
                <a:effectLst/>
                <a:latin typeface="+mn-lt"/>
                <a:ea typeface="+mn-ea"/>
                <a:cs typeface="+mn-cs"/>
              </a:rPr>
              <a:t>160,036 total entries</a:t>
            </a:r>
          </a:p>
          <a:p>
            <a:pPr lvl="1" rtl="0" fontAlgn="ctr"/>
            <a:r>
              <a:rPr lang="en-US" sz="900" kern="1200" baseline="0" dirty="0">
                <a:solidFill>
                  <a:schemeClr val="tx1"/>
                </a:solidFill>
                <a:effectLst/>
                <a:latin typeface="+mn-lt"/>
                <a:ea typeface="+mn-ea"/>
                <a:cs typeface="+mn-cs"/>
              </a:rPr>
              <a:t>40,009 entries each for SQL Plans, Object Plans, Bound Trees, Extended SPs</a:t>
            </a:r>
          </a:p>
          <a:p>
            <a:pPr lvl="1" rtl="0" fontAlgn="ctr"/>
            <a:endParaRPr lang="en-US" sz="9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Heavy ad hoc workloads may fill up the SQL Plans bucket and result in SOS_CACHESTORE spinlock contention.</a:t>
            </a:r>
          </a:p>
          <a:p>
            <a:r>
              <a:rPr lang="en-US" sz="1000" kern="1200" baseline="0" dirty="0">
                <a:solidFill>
                  <a:schemeClr val="tx1"/>
                </a:solidFill>
                <a:effectLst/>
                <a:latin typeface="+mn-lt"/>
                <a:ea typeface="+mn-ea"/>
                <a:cs typeface="+mn-cs"/>
              </a:rPr>
              <a:t>This can be addressed with -T174 which increases the bucket count by 4X.</a:t>
            </a:r>
          </a:p>
          <a:p>
            <a:endParaRPr lang="en-US" sz="900" dirty="0"/>
          </a:p>
          <a:p>
            <a:pPr rtl="0" fontAlgn="ctr"/>
            <a:r>
              <a:rPr lang="en-US" sz="900" kern="1200" baseline="0" dirty="0">
                <a:solidFill>
                  <a:schemeClr val="tx1"/>
                </a:solidFill>
                <a:effectLst/>
                <a:latin typeface="+mn-lt"/>
                <a:ea typeface="+mn-ea"/>
                <a:cs typeface="+mn-cs"/>
              </a:rPr>
              <a:t>Maximum size the plan cache can reach:</a:t>
            </a:r>
          </a:p>
          <a:p>
            <a:pPr lvl="1"/>
            <a:r>
              <a:rPr lang="en-US" sz="900" kern="1200" baseline="0" dirty="0">
                <a:solidFill>
                  <a:schemeClr val="tx1"/>
                </a:solidFill>
                <a:effectLst/>
                <a:latin typeface="+mn-lt"/>
                <a:ea typeface="+mn-ea"/>
                <a:cs typeface="+mn-cs"/>
              </a:rPr>
              <a:t>75% of visible target memory from 0 to 4GB </a:t>
            </a:r>
          </a:p>
          <a:p>
            <a:pPr lvl="1"/>
            <a:r>
              <a:rPr lang="en-US" sz="900" kern="1200" baseline="0" dirty="0">
                <a:solidFill>
                  <a:schemeClr val="tx1"/>
                </a:solidFill>
                <a:effectLst/>
                <a:latin typeface="+mn-lt"/>
                <a:ea typeface="+mn-ea"/>
                <a:cs typeface="+mn-cs"/>
              </a:rPr>
              <a:t>+ 10% of visible target memory from 4GB to 64GB</a:t>
            </a:r>
          </a:p>
          <a:p>
            <a:pPr lvl="1"/>
            <a:r>
              <a:rPr lang="en-US" sz="900" kern="1200" baseline="0" dirty="0">
                <a:solidFill>
                  <a:schemeClr val="tx1"/>
                </a:solidFill>
                <a:effectLst/>
                <a:latin typeface="+mn-lt"/>
                <a:ea typeface="+mn-ea"/>
                <a:cs typeface="+mn-cs"/>
              </a:rPr>
              <a:t>+ 25% of visible target memory &gt; 64GB</a:t>
            </a:r>
          </a:p>
          <a:p>
            <a:pPr lvl="1"/>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The “Optimize for ad hoc workload” server configuration option helps control the cache size.</a:t>
            </a:r>
          </a:p>
          <a:p>
            <a:endParaRPr lang="en-US" sz="900" kern="1200" baseline="0" dirty="0">
              <a:solidFill>
                <a:schemeClr val="tx1"/>
              </a:solidFill>
              <a:effectLst/>
              <a:latin typeface="+mn-lt"/>
              <a:ea typeface="+mn-ea"/>
              <a:cs typeface="+mn-cs"/>
            </a:endParaRPr>
          </a:p>
          <a:p>
            <a:r>
              <a:rPr lang="en-US" sz="800" dirty="0"/>
              <a:t>When object plans are cached their compilation cost is noted.  Under memory pressure that value is decremented.  On plan reuse it is reset.</a:t>
            </a:r>
          </a:p>
          <a:p>
            <a:r>
              <a:rPr lang="en-US" sz="800" dirty="0"/>
              <a:t>Ad hoc plans are cached with a cost of 0.  This value is incremented on plan reuse.</a:t>
            </a:r>
          </a:p>
          <a:p>
            <a:r>
              <a:rPr lang="en-US" sz="800" dirty="0"/>
              <a:t>Plans that have a cost of 0 may be evicted from the cache.</a:t>
            </a:r>
          </a:p>
          <a:p>
            <a:pPr rtl="0" fontAlgn="ctr"/>
            <a:endParaRPr lang="en-US" sz="80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107516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all this has been running, several other parts of SQLOS have been active:</a:t>
            </a:r>
          </a:p>
          <a:p>
            <a:pPr lvl="1"/>
            <a:r>
              <a:rPr lang="en-US" b="1"/>
              <a:t>Monitoring</a:t>
            </a:r>
            <a:r>
              <a:rPr lang="en-US"/>
              <a:t>: DMVs, Extended Events (xEvents), and so on.</a:t>
            </a:r>
          </a:p>
          <a:p>
            <a:pPr lvl="1"/>
            <a:r>
              <a:rPr lang="en-US" b="1"/>
              <a:t>Deadlock</a:t>
            </a:r>
            <a:r>
              <a:rPr lang="en-US"/>
              <a:t> </a:t>
            </a:r>
            <a:r>
              <a:rPr lang="en-US" b="1"/>
              <a:t>Monitor</a:t>
            </a:r>
            <a:r>
              <a:rPr lang="en-US"/>
              <a:t> thread: Monitors for and deals with deadlocks.</a:t>
            </a:r>
          </a:p>
          <a:p>
            <a:pPr lvl="1"/>
            <a:r>
              <a:rPr lang="en-US" b="1"/>
              <a:t>Lazy</a:t>
            </a:r>
            <a:r>
              <a:rPr lang="en-US"/>
              <a:t> </a:t>
            </a:r>
            <a:r>
              <a:rPr lang="en-US" b="1"/>
              <a:t>Writer</a:t>
            </a:r>
            <a:r>
              <a:rPr lang="en-US"/>
              <a:t> threads: Clock sweeping the buffer pool to maintain the free lists and responsible for writing dirty pages to disk between checkpoints.</a:t>
            </a:r>
          </a:p>
          <a:p>
            <a:pPr lvl="1"/>
            <a:r>
              <a:rPr lang="en-US" b="1"/>
              <a:t>Scheduler</a:t>
            </a:r>
            <a:r>
              <a:rPr lang="en-US"/>
              <a:t> </a:t>
            </a:r>
            <a:r>
              <a:rPr lang="en-US" b="1"/>
              <a:t>Monitor</a:t>
            </a:r>
            <a:r>
              <a:rPr lang="en-US"/>
              <a:t> thread: Monitors scheduler health and detects issues such as non-yielding scenarios.</a:t>
            </a:r>
          </a:p>
          <a:p>
            <a:pPr lvl="1"/>
            <a:r>
              <a:rPr lang="en-US" b="1"/>
              <a:t>Resource</a:t>
            </a:r>
            <a:r>
              <a:rPr lang="en-US"/>
              <a:t> </a:t>
            </a:r>
            <a:r>
              <a:rPr lang="en-US" b="1"/>
              <a:t>Monitor</a:t>
            </a:r>
            <a:r>
              <a:rPr lang="en-US"/>
              <a:t> thread: Monitors available memory from operating system and internal to SQL Server and notifies the Clerks.</a:t>
            </a:r>
          </a:p>
          <a:p>
            <a:r>
              <a:rPr lang="en-US"/>
              <a:t>The Hosting APIs for external components interface with Microsoft Data Access Components (MDAC) and common language runtime (CLR).</a:t>
            </a:r>
          </a:p>
          <a:p>
            <a:endParaRPr lang="en-GB"/>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72804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cached_plans</a:t>
            </a:r>
            <a:endParaRPr lang="en-US" dirty="0"/>
          </a:p>
          <a:p>
            <a:r>
              <a:rPr lang="en-US" dirty="0">
                <a:hlinkClick r:id="rId3"/>
              </a:rPr>
              <a:t>https://docs.microsoft.com/en-us/sql/relational-databases/system-dynamic-management-views/sys-dm-exec-cached-plan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stats</a:t>
            </a:r>
            <a:endParaRPr lang="en-US" dirty="0"/>
          </a:p>
          <a:p>
            <a:r>
              <a:rPr lang="en-US" dirty="0">
                <a:hlinkClick r:id="rId4"/>
              </a:rPr>
              <a:t>https://docs.microsoft.com/en-us/sql/relational-databases/system-dynamic-management-views/sys-dm-exec-query-stat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In addition to query-stats, consider the following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procedure_stats</a:t>
            </a:r>
            <a:endParaRPr lang="en-US" dirty="0"/>
          </a:p>
          <a:p>
            <a:r>
              <a:rPr lang="en-US" dirty="0">
                <a:hlinkClick r:id="rId5"/>
              </a:rPr>
              <a:t>https://docs.microsoft.com/en-us/sql/relational-databases/system-dynamic-management-views/sys-dm-exec-procedure-stats-transact-sql?view=sql-server-ver15</a:t>
            </a:r>
            <a:endParaRPr lang="en-US" dirty="0"/>
          </a:p>
          <a:p>
            <a:r>
              <a:rPr lang="en-US" dirty="0"/>
              <a:t>sys.dm_exec_trigger_stats</a:t>
            </a:r>
          </a:p>
          <a:p>
            <a:r>
              <a:rPr lang="en-US" dirty="0"/>
              <a:t>https://docs.microsoft.com/en-us/sql/relational-databases/system-dynamic-management-views/sys-dm-exec-trigger-stats-transact-sql?view=sql-server-ver15  </a:t>
            </a:r>
          </a:p>
          <a:p>
            <a:r>
              <a:rPr lang="en-US" dirty="0"/>
              <a:t>sys.dm_exec_function_stats</a:t>
            </a:r>
          </a:p>
          <a:p>
            <a:r>
              <a:rPr lang="en-US" dirty="0"/>
              <a:t>https://docs.microsoft.com/en-us/sql/relational-databases/system-dynamic-management-views/sys-dm-exec-function-stats-transact-sql?view=sql-server-ver15</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plan()</a:t>
            </a:r>
            <a:endParaRPr lang="en-US" dirty="0"/>
          </a:p>
          <a:p>
            <a:r>
              <a:rPr lang="en-US" dirty="0">
                <a:hlinkClick r:id="rId6"/>
              </a:rPr>
              <a:t>https://docs.microsoft.com/en-us/sql/relational-databases/system-dynamic-management-views/sys-dm-exec-query-plan-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sql_text()</a:t>
            </a:r>
            <a:endParaRPr lang="en-US" dirty="0"/>
          </a:p>
          <a:p>
            <a:r>
              <a:rPr lang="en-US" dirty="0">
                <a:hlinkClick r:id="rId7"/>
              </a:rPr>
              <a:t>https://docs.microsoft.com/en-us/sql/relational-databases/system-dynamic-management-views/sys-dm-exec-sql-text-transact-sql?view=sql-server-ver15</a:t>
            </a:r>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83391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omplete list see the sys.dm_exec_query_stats documentation:</a:t>
            </a:r>
          </a:p>
          <a:p>
            <a:r>
              <a:rPr lang="en-US" dirty="0">
                <a:hlinkClick r:id="rId3"/>
              </a:rPr>
              <a:t>https://docs.microsoft.com/en-us/sql/relational-databases/system-dynamic-management-views/sys-dm-exec-query-stats-transact-sql?view=sql-server-ver15</a:t>
            </a: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8804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8270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00FF00"/>
                </a:solidFill>
                <a:latin typeface="Consolas" panose="020B0609020204030204" pitchFamily="49" charset="0"/>
              </a:rPr>
              <a:t>sys</a:t>
            </a:r>
            <a:r>
              <a:rPr lang="en-US" sz="900" dirty="0">
                <a:solidFill>
                  <a:srgbClr val="808080"/>
                </a:solidFill>
                <a:latin typeface="Consolas" panose="020B0609020204030204" pitchFamily="49" charset="0"/>
              </a:rPr>
              <a:t>.</a:t>
            </a:r>
            <a:r>
              <a:rPr lang="en-US" sz="900" dirty="0">
                <a:solidFill>
                  <a:srgbClr val="00FF00"/>
                </a:solidFill>
                <a:latin typeface="Consolas" panose="020B0609020204030204" pitchFamily="49" charset="0"/>
              </a:rPr>
              <a:t>dm_exec_sql_text() returns all the SQL statements in a batch.</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The offset values from sys.dm_exec_query_stats are used to pick out the specific statement to which the plan and query stats apply.</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Vary the ORDER BY statement in the displayed query to identify the TOP 10 queries by other measures:</a:t>
            </a:r>
          </a:p>
          <a:p>
            <a:pPr marL="171450" indent="-171450">
              <a:buFont typeface="Arial" panose="020B0604020202020204" pitchFamily="34" charset="0"/>
              <a:buChar cha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000000"/>
                </a:solidFill>
                <a:latin typeface="Consolas" panose="020B0609020204030204" pitchFamily="49" charset="0"/>
              </a:rPr>
              <a:t>execution_coun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logical_reads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total_worker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elapsed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i="1" dirty="0">
                <a:solidFill>
                  <a:srgbClr val="000000"/>
                </a:solidFill>
                <a:latin typeface="Consolas" panose="020B0609020204030204" pitchFamily="49" charset="0"/>
              </a:rPr>
              <a:t>Etc.</a:t>
            </a:r>
            <a:endParaRPr lang="en-US" sz="900" i="1" dirty="0">
              <a:solidFill>
                <a:srgbClr val="00FF00"/>
              </a:solidFill>
              <a:latin typeface="Consolas" panose="020B0609020204030204" pitchFamily="49" charset="0"/>
            </a:endParaRPr>
          </a:p>
          <a:p>
            <a:endParaRPr lang="en-US" sz="900" dirty="0">
              <a:solidFill>
                <a:srgbClr val="00FF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78129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r>
              <a:rPr lang="en-US" dirty="0"/>
              <a:t>For additional examples see:</a:t>
            </a:r>
          </a:p>
          <a:p>
            <a:endParaRPr lang="en-US" dirty="0"/>
          </a:p>
          <a:p>
            <a:pPr marL="100584" lvl="1" indent="0">
              <a:buNone/>
            </a:pPr>
            <a:r>
              <a:rPr lang="en-US" dirty="0"/>
              <a:t>tigertoolbox/Mining-PlanCache</a:t>
            </a:r>
            <a:endParaRPr lang="en-US" b="1" dirty="0"/>
          </a:p>
          <a:p>
            <a:pPr marL="100584" lvl="1" indent="0">
              <a:buNone/>
            </a:pPr>
            <a:r>
              <a:rPr lang="en-US" dirty="0">
                <a:hlinkClick r:id="rId3"/>
              </a:rPr>
              <a:t>https://github.com/microsoft/tigertoolbox/tree/master/Mining-PlanCache</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466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mize for ad hoc workloads Server Configuration Option</a:t>
            </a:r>
          </a:p>
          <a:p>
            <a:r>
              <a:rPr lang="en-US" dirty="0">
                <a:hlinkClick r:id="rId3"/>
              </a:rPr>
              <a:t>https://docs.microsoft.com/en-us/sql/database-engine/configure-windows/optimize-for-ad-hoc-workloads-server-configuration-option?view=sql-server-ver15</a:t>
            </a:r>
            <a:endParaRPr lang="en-US" dirty="0"/>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optimize for ad hoc workloads</a:t>
            </a:r>
            <a:r>
              <a:rPr lang="en-US" sz="882" b="0" i="0" kern="1200" baseline="0" dirty="0">
                <a:solidFill>
                  <a:schemeClr val="tx1"/>
                </a:solidFill>
                <a:effectLst/>
                <a:latin typeface="+mn-lt"/>
                <a:ea typeface="+mn-ea"/>
                <a:cs typeface="+mn-cs"/>
              </a:rPr>
              <a:t> option is used to improve the efficiency of the plan cache for workloads that contain many single use ad hoc batches. When this option is set to 1, the Database Engine stores a small compiled plan stub in the plan cache when a batch is compiled for the first time, instead of the full compiled plan. This helps to relieve memory pressure by not allowing the plan cache to become filled with compiled plans that are not reused.</a:t>
            </a:r>
          </a:p>
          <a:p>
            <a:r>
              <a:rPr lang="en-US" sz="882" b="0" i="0" kern="1200" baseline="0" dirty="0">
                <a:solidFill>
                  <a:schemeClr val="tx1"/>
                </a:solidFill>
                <a:effectLst/>
                <a:latin typeface="+mn-lt"/>
                <a:ea typeface="+mn-ea"/>
                <a:cs typeface="+mn-cs"/>
              </a:rPr>
              <a:t>The compiled plan stub allows the Database Engine to recognize that this ad hoc batch has been compiled before but has only stored a compiled plan stub, so when this batch is invoked (compiled or executed) again, the Database Engine compiles the batch, removes the compiled plan stub from the plan cache, and adds the full compiled plan to the plan cache.</a:t>
            </a:r>
          </a:p>
          <a:p>
            <a:br>
              <a:rPr lang="en-US" dirty="0"/>
            </a:br>
            <a:r>
              <a:rPr lang="en-US" sz="882" b="0" i="0" kern="1200" baseline="0" dirty="0">
                <a:solidFill>
                  <a:schemeClr val="tx1"/>
                </a:solidFill>
                <a:effectLst/>
                <a:latin typeface="+mn-lt"/>
                <a:ea typeface="+mn-ea"/>
                <a:cs typeface="+mn-cs"/>
              </a:rPr>
              <a:t>Avoid having a large number of single-use plans in the plan cache. A common cause of this problem is when the </a:t>
            </a:r>
            <a:r>
              <a:rPr lang="en-US" sz="882" b="1" i="0" kern="1200" baseline="0" dirty="0">
                <a:solidFill>
                  <a:schemeClr val="tx1"/>
                </a:solidFill>
                <a:effectLst/>
                <a:latin typeface="+mn-lt"/>
                <a:ea typeface="+mn-ea"/>
                <a:cs typeface="+mn-cs"/>
              </a:rPr>
              <a:t>data types of query parameters</a:t>
            </a:r>
            <a:r>
              <a:rPr lang="en-US" sz="882" b="0" i="0" kern="1200" baseline="0" dirty="0">
                <a:solidFill>
                  <a:schemeClr val="tx1"/>
                </a:solidFill>
                <a:effectLst/>
                <a:latin typeface="+mn-lt"/>
                <a:ea typeface="+mn-ea"/>
                <a:cs typeface="+mn-cs"/>
              </a:rPr>
              <a:t> is not consistently defined. This particularly applies to the length of strings but can apply to any data type that has a maxlength, a precision, or a scale. For example, if a parameter named @Greeting is passed as an nvarchar(10) on one call and an nvarchar(20) on the next call, separate plans are created for each parameter size. If a query has several parameters and they are not consistently defined when called, a large number of query plans could exist for each query. Plans could exist for each combination of query parameter data types and lengths that have been used.</a:t>
            </a: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851552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2325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SAMPLE CODE:</a:t>
            </a:r>
          </a:p>
          <a:p>
            <a:r>
              <a:rPr lang="en-US" sz="882" b="1" i="0" kern="1200" baseline="0" dirty="0">
                <a:solidFill>
                  <a:schemeClr val="tx1"/>
                </a:solidFill>
                <a:effectLst/>
                <a:latin typeface="+mn-lt"/>
                <a:ea typeface="+mn-ea"/>
                <a:cs typeface="+mn-cs"/>
              </a:rPr>
              <a:t>-- for 1 QUERY</a:t>
            </a:r>
            <a:br>
              <a:rPr lang="en-US" sz="882" b="1" i="0" kern="1200" baseline="0" dirty="0">
                <a:solidFill>
                  <a:schemeClr val="tx1"/>
                </a:solidFill>
                <a:effectLst/>
                <a:latin typeface="+mn-lt"/>
                <a:ea typeface="+mn-ea"/>
                <a:cs typeface="+mn-cs"/>
              </a:rPr>
            </a:br>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ALTER DATABASE SCOPED CONFIGURATION </a:t>
            </a:r>
          </a:p>
          <a:p>
            <a:r>
              <a:rPr lang="en-US" sz="882" kern="1200" baseline="0" dirty="0">
                <a:solidFill>
                  <a:schemeClr val="tx1"/>
                </a:solidFill>
                <a:latin typeface="+mn-lt"/>
                <a:ea typeface="+mn-ea"/>
                <a:cs typeface="+mn-cs"/>
              </a:rPr>
              <a:t>CLEAR PROCEDURE_CACHE 0x060008005341261C208A0310A101000001000000000000000000000000000000000000000000000000000000;</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DBCC FREEPROCCACHE   (0x060008005341261C208A0310A101000001000000000000000000000000000000000000000000000000000000);</a:t>
            </a:r>
          </a:p>
          <a:p>
            <a:r>
              <a:rPr lang="en-US" sz="882" kern="1200" baseline="0" dirty="0">
                <a:solidFill>
                  <a:schemeClr val="tx1"/>
                </a:solidFill>
                <a:latin typeface="+mn-lt"/>
                <a:ea typeface="+mn-ea"/>
                <a:cs typeface="+mn-cs"/>
              </a:rPr>
              <a:t>GO</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 for all queries for the database:</a:t>
            </a:r>
          </a:p>
          <a:p>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addressId = 2;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StateProvinceID=79;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all plans for database</a:t>
            </a:r>
          </a:p>
          <a:p>
            <a:r>
              <a:rPr lang="en-US" sz="882" kern="1200" baseline="0" dirty="0">
                <a:solidFill>
                  <a:schemeClr val="tx1"/>
                </a:solidFill>
                <a:latin typeface="+mn-lt"/>
                <a:ea typeface="+mn-ea"/>
                <a:cs typeface="+mn-cs"/>
              </a:rPr>
              <a:t>ALTER DATABASE SCOPED CONFIGURATION CLEAR PROCEDURE_CACH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196927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ALTER DATABASE SET PARAMETERIZATION { </a:t>
            </a:r>
            <a:r>
              <a:rPr lang="en-US" sz="882" b="1" i="0" kern="1200" baseline="0" dirty="0">
                <a:solidFill>
                  <a:schemeClr val="tx1"/>
                </a:solidFill>
                <a:effectLst/>
                <a:latin typeface="+mn-lt"/>
                <a:ea typeface="+mn-ea"/>
                <a:cs typeface="+mn-cs"/>
              </a:rPr>
              <a:t>SIMPLE</a:t>
            </a:r>
            <a:r>
              <a:rPr lang="en-US" sz="882" b="0" i="0" kern="1200" baseline="0" dirty="0">
                <a:solidFill>
                  <a:schemeClr val="tx1"/>
                </a:solidFill>
                <a:effectLst/>
                <a:latin typeface="+mn-lt"/>
                <a:ea typeface="+mn-ea"/>
                <a:cs typeface="+mn-cs"/>
              </a:rPr>
              <a:t> | FORCED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docs.microsoft.com/en-us/sql/t-sql/statements/alter-database-transact-sql-set-options?view=sql-server-ver15</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Simple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query-processing-architecture-guide?view=sql-server-ver15#SimpleParam</a:t>
            </a: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ced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5"/>
              </a:rPr>
              <a:t>https://docs.microsoft.com/en-us/sql/relational-databases/query-processing-architecture-guide?view=sql-server-ver15#ForcedParam</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How Simple Parameterization works</a:t>
            </a:r>
          </a:p>
          <a:p>
            <a:r>
              <a:rPr lang="en-US" dirty="0">
                <a:hlinkClick r:id="rId6"/>
              </a:rPr>
              <a:t>https://docs.microsoft.com/en-us/archive/blogs/psssql/how-simple-parameterization-works</a:t>
            </a:r>
            <a:endParaRPr lang="en-US" dirty="0"/>
          </a:p>
          <a:p>
            <a:endParaRPr lang="en-US" dirty="0"/>
          </a:p>
          <a:p>
            <a:pPr fontAlgn="base"/>
            <a:r>
              <a:rPr lang="en-US" sz="882" b="0" i="0" kern="1200" baseline="0" dirty="0">
                <a:solidFill>
                  <a:schemeClr val="tx1"/>
                </a:solidFill>
                <a:effectLst/>
                <a:latin typeface="+mn-lt"/>
                <a:ea typeface="+mn-ea"/>
                <a:cs typeface="+mn-cs"/>
              </a:rPr>
              <a:t>Simple parameterization is enabled by default.  Check the StatementParameterizationType attribute value in an </a:t>
            </a:r>
            <a:r>
              <a:rPr lang="en-US" sz="882" b="1" i="0" kern="1200" baseline="0" dirty="0">
                <a:solidFill>
                  <a:schemeClr val="tx1"/>
                </a:solidFill>
                <a:effectLst/>
                <a:latin typeface="+mn-lt"/>
                <a:ea typeface="+mn-ea"/>
                <a:cs typeface="+mn-cs"/>
              </a:rPr>
              <a:t>actual</a:t>
            </a:r>
            <a:r>
              <a:rPr lang="en-US" sz="882" b="0" i="0" kern="1200" baseline="0" dirty="0">
                <a:solidFill>
                  <a:schemeClr val="tx1"/>
                </a:solidFill>
                <a:effectLst/>
                <a:latin typeface="+mn-lt"/>
                <a:ea typeface="+mn-ea"/>
                <a:cs typeface="+mn-cs"/>
              </a:rPr>
              <a:t> execution plan to see whether parameterization applied.  The values are documented in </a:t>
            </a:r>
            <a:r>
              <a:rPr lang="en-US" sz="882" b="0" i="0" u="sng" kern="1200" baseline="0" dirty="0">
                <a:solidFill>
                  <a:schemeClr val="tx1"/>
                </a:solidFill>
                <a:effectLst/>
                <a:latin typeface="+mn-lt"/>
                <a:ea typeface="+mn-ea"/>
                <a:cs typeface="+mn-cs"/>
                <a:hlinkClick r:id="rId7"/>
              </a:rPr>
              <a:t>sys.query_store_query</a:t>
            </a:r>
            <a:r>
              <a:rPr lang="en-US" sz="882" b="0" i="0" kern="1200" baseline="0" dirty="0">
                <a:solidFill>
                  <a:schemeClr val="tx1"/>
                </a:solidFill>
                <a:effectLst/>
                <a:latin typeface="+mn-lt"/>
                <a:ea typeface="+mn-ea"/>
                <a:cs typeface="+mn-cs"/>
              </a:rPr>
              <a:t>:</a:t>
            </a:r>
          </a:p>
          <a:p>
            <a:pPr lvl="1" fontAlgn="base"/>
            <a:r>
              <a:rPr lang="en-US" sz="882" b="0" i="0" kern="1200" baseline="0" dirty="0">
                <a:solidFill>
                  <a:schemeClr val="tx1"/>
                </a:solidFill>
                <a:effectLst/>
                <a:latin typeface="+mn-lt"/>
                <a:ea typeface="+mn-ea"/>
                <a:cs typeface="+mn-cs"/>
              </a:rPr>
              <a:t>0 = None</a:t>
            </a:r>
          </a:p>
          <a:p>
            <a:pPr lvl="1" fontAlgn="base"/>
            <a:r>
              <a:rPr lang="en-US" sz="882" b="0" i="0" kern="1200" baseline="0" dirty="0">
                <a:solidFill>
                  <a:schemeClr val="tx1"/>
                </a:solidFill>
                <a:effectLst/>
                <a:latin typeface="+mn-lt"/>
                <a:ea typeface="+mn-ea"/>
                <a:cs typeface="+mn-cs"/>
              </a:rPr>
              <a:t>1 = User</a:t>
            </a:r>
          </a:p>
          <a:p>
            <a:pPr lvl="1" fontAlgn="base"/>
            <a:r>
              <a:rPr lang="en-US" sz="882" b="0" i="0" kern="1200" baseline="0" dirty="0">
                <a:solidFill>
                  <a:schemeClr val="tx1"/>
                </a:solidFill>
                <a:effectLst/>
                <a:latin typeface="+mn-lt"/>
                <a:ea typeface="+mn-ea"/>
                <a:cs typeface="+mn-cs"/>
              </a:rPr>
              <a:t>2 = Simple</a:t>
            </a:r>
          </a:p>
          <a:p>
            <a:pPr lvl="1" fontAlgn="base"/>
            <a:r>
              <a:rPr lang="en-US" sz="882" b="0" i="0" kern="1200" baseline="0" dirty="0">
                <a:solidFill>
                  <a:schemeClr val="tx1"/>
                </a:solidFill>
                <a:effectLst/>
                <a:latin typeface="+mn-lt"/>
                <a:ea typeface="+mn-ea"/>
                <a:cs typeface="+mn-cs"/>
              </a:rPr>
              <a:t>3 = Forced</a:t>
            </a:r>
          </a:p>
          <a:p>
            <a:endParaRPr lang="en-US" dirty="0"/>
          </a:p>
          <a:p>
            <a:endParaRPr lang="en-US" dirty="0"/>
          </a:p>
          <a:p>
            <a:r>
              <a:rPr lang="en-US" dirty="0"/>
              <a:t>Note the use (and value of) UNION ALL compared to UNION (which has an implicit DISTINCT)</a:t>
            </a: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297205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t-sql/queries/hints-transact-sql-query?view=sql-server-ver15</a:t>
            </a:r>
            <a:endParaRPr lang="en-US" dirty="0"/>
          </a:p>
          <a:p>
            <a:r>
              <a:rPr lang="en-US" sz="882" b="0" i="0" kern="1200" baseline="0" dirty="0">
                <a:solidFill>
                  <a:schemeClr val="tx1"/>
                </a:solidFill>
                <a:effectLst/>
                <a:latin typeface="+mn-lt"/>
                <a:ea typeface="+mn-ea"/>
                <a:cs typeface="+mn-cs"/>
              </a:rPr>
              <a:t>OPTION(RECOMPILE) query hint</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nstructs the SQL Server Database Engine to generate a new, temporary plan for the query and immediately discard that plan after the query completes execution. The generated query plan doesn't replace a plan stored in cache when the same query runs without the RECOMPILE hint. Without specifying RECOMPILE, the Database Engine caches query plans and reuses them. When compiling query plans, the RECOMPILE query hint uses the current values of any local variables in the query. If the query is inside a stored procedure, the current values passed to any parameters.</a:t>
            </a:r>
          </a:p>
          <a:p>
            <a:endParaRPr lang="en-US" dirty="0"/>
          </a:p>
          <a:p>
            <a:r>
              <a:rPr lang="en-US" dirty="0">
                <a:hlinkClick r:id="rId4"/>
              </a:rPr>
              <a:t>https://docs.microsoft.com/en-us/sql/t-sql/statements/create-procedure-transact-sql?view=sql-server-ver15</a:t>
            </a:r>
            <a:endParaRPr lang="en-US" dirty="0"/>
          </a:p>
          <a:p>
            <a:r>
              <a:rPr lang="en-US" sz="882" b="0" i="0" kern="1200" baseline="0" dirty="0">
                <a:solidFill>
                  <a:schemeClr val="tx1"/>
                </a:solidFill>
                <a:effectLst/>
                <a:latin typeface="+mn-lt"/>
                <a:ea typeface="+mn-ea"/>
                <a:cs typeface="+mn-cs"/>
              </a:rPr>
              <a:t>CREATE PROC dbo.MyProc WITH RECOMPILE</a:t>
            </a:r>
            <a:br>
              <a:rPr lang="en-US" dirty="0"/>
            </a:br>
            <a:r>
              <a:rPr lang="en-US" sz="882" b="0" i="0" kern="1200" baseline="0" dirty="0">
                <a:solidFill>
                  <a:schemeClr val="tx1"/>
                </a:solidFill>
                <a:effectLst/>
                <a:latin typeface="+mn-lt"/>
                <a:ea typeface="+mn-ea"/>
                <a:cs typeface="+mn-cs"/>
              </a:rPr>
              <a:t>Indicates that the Database Engine does not cache a query plan for this procedure, forcing it to be compiled (all statements) each time it is executed. </a:t>
            </a:r>
          </a:p>
          <a:p>
            <a:r>
              <a:rPr lang="en-US" sz="882" b="0" i="0" kern="1200" baseline="0" dirty="0">
                <a:solidFill>
                  <a:schemeClr val="tx1"/>
                </a:solidFill>
                <a:effectLst/>
                <a:latin typeface="+mn-lt"/>
                <a:ea typeface="+mn-ea"/>
                <a:cs typeface="+mn-cs"/>
              </a:rPr>
              <a:t>Use of the statement-level OPTION (RECOMPILE) hint is preferred.</a:t>
            </a:r>
            <a:endParaRPr lang="en-US" dirty="0"/>
          </a:p>
          <a:p>
            <a:endParaRPr lang="en-US" dirty="0"/>
          </a:p>
          <a:p>
            <a:r>
              <a:rPr lang="en-US" dirty="0"/>
              <a:t>sp_recompile</a:t>
            </a:r>
          </a:p>
          <a:p>
            <a:r>
              <a:rPr lang="en-US" dirty="0">
                <a:hlinkClick r:id="rId5"/>
              </a:rPr>
              <a:t>https://docs.microsoft.com/en-us/sql/relational-databases/system-stored-procedures/sp-recompile-transact-sql?view=sql-server-ver15</a:t>
            </a:r>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12218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Segoe UI"/>
                <a:ea typeface="+mn-ea"/>
                <a:cs typeface="+mn-cs"/>
              </a:rPr>
              <a:t>Repeat of previous page</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67794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Is the size of the plan cache fixed?</a:t>
            </a:r>
          </a:p>
          <a:p>
            <a:r>
              <a:rPr lang="en-US" dirty="0"/>
              <a:t>A1) No.  It grows on demand, within limits, and can shrink when there’s memory pressur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long do query plans remain in the plan cache?</a:t>
            </a:r>
          </a:p>
          <a:p>
            <a:r>
              <a:rPr lang="en-US" dirty="0"/>
              <a:t>A2) Until memory pressure forces them out.</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y is plan caching helpful?</a:t>
            </a:r>
          </a:p>
          <a:p>
            <a:r>
              <a:rPr lang="en-US" dirty="0"/>
              <a:t>A3) Plan reuse saves time and CPU since a new plan needn’t be compiled every time a statement is executed.</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Why are ad hoc query plans sometimes problematic?</a:t>
            </a:r>
          </a:p>
          <a:p>
            <a:r>
              <a:rPr lang="en-US" dirty="0"/>
              <a:t>A4) They are often single-use both because of their nature (users browsing data) and because small changes in SQL text impact the ability of the Optimizer to match current queries to cached plans. This can lead to filling up the plan cache with plans that will never be reused – a waste of space that may negatively impact the size of the buffer poo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5) What can be done to lessen the impact of an ad hoc workload?</a:t>
            </a:r>
          </a:p>
          <a:p>
            <a:r>
              <a:rPr lang="en-US" dirty="0"/>
              <a:t>A5) Address this by enabling the “optimize for ad hoc workload” server configuration item. This prevents full caching of plans until they’ve been used a second tim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6) What can be done to address a parameter sniffing issue?</a:t>
            </a:r>
          </a:p>
          <a:p>
            <a:r>
              <a:rPr lang="en-US" dirty="0"/>
              <a:t>A6) You can use statement-level recompile hints to ensure you have cost-effective plans for all executions of a statement.  Recompile hints simply prevent caching of the query plans for statements in their scope (object or statement).</a:t>
            </a: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43113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mn-cs"/>
              </a:rPr>
              <a:t>Please consider editing or deleting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ive me the top queries that have changed in performance compared to the number of executions. “</a:t>
            </a:r>
          </a:p>
        </p:txBody>
      </p:sp>
    </p:spTree>
    <p:extLst>
      <p:ext uri="{BB962C8B-B14F-4D97-AF65-F5344CB8AC3E}">
        <p14:creationId xmlns:p14="http://schemas.microsoft.com/office/powerpoint/2010/main" val="2713351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83656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4178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9553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1584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1801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7981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1561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6561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00859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6586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915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58147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2705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653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6334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5804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cture provide by Tracy </a:t>
            </a:r>
            <a:r>
              <a:rPr lang="en-GB" dirty="0" err="1"/>
              <a:t>Boggiano</a:t>
            </a:r>
            <a:r>
              <a:rPr lang="en-GB" dirty="0"/>
              <a:t> from her book Query Store for SQL Server 2019.</a:t>
            </a:r>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6517067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7459882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838200" y="3124200"/>
            <a:ext cx="2057400" cy="990600"/>
          </a:xfrm>
          <a:prstGeom prst="wedgeRectCallout">
            <a:avLst>
              <a:gd name="adj1" fmla="val 33954"/>
              <a:gd name="adj2" fmla="val 938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What version does “Before” refer to?</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2057400" y="3124200"/>
            <a:ext cx="2590800" cy="1066800"/>
          </a:xfrm>
          <a:prstGeom prst="wedgeRectCallout">
            <a:avLst>
              <a:gd name="adj1" fmla="val -33708"/>
              <a:gd name="adj2" fmla="val 862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query store compare plans was a complicated </a:t>
            </a: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 is unclear – please revisi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788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0731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54196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ecution modes</a:t>
            </a:r>
          </a:p>
          <a:p>
            <a:r>
              <a:rPr lang="en-US" sz="882" b="0" i="0" kern="1200" baseline="0" dirty="0">
                <a:solidFill>
                  <a:schemeClr val="tx1"/>
                </a:solidFill>
                <a:effectLst/>
                <a:latin typeface="+mn-lt"/>
                <a:ea typeface="+mn-ea"/>
                <a:cs typeface="+mn-cs"/>
              </a:rPr>
              <a:t>The SQL Server Database Engine can process Transact-SQL statements using two distinct processing mod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Row mode execu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Batch mode execution</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Row mode execution</a:t>
            </a:r>
          </a:p>
          <a:p>
            <a:r>
              <a:rPr lang="en-US" sz="882" b="0" i="1" kern="1200" baseline="0" dirty="0">
                <a:solidFill>
                  <a:schemeClr val="tx1"/>
                </a:solidFill>
                <a:effectLst/>
                <a:latin typeface="+mn-lt"/>
                <a:ea typeface="+mn-ea"/>
                <a:cs typeface="+mn-cs"/>
              </a:rPr>
              <a:t>Row mode execution</a:t>
            </a:r>
            <a:r>
              <a:rPr lang="en-US" sz="882" b="0" i="0" kern="1200" baseline="0" dirty="0">
                <a:solidFill>
                  <a:schemeClr val="tx1"/>
                </a:solidFill>
                <a:effectLst/>
                <a:latin typeface="+mn-lt"/>
                <a:ea typeface="+mn-ea"/>
                <a:cs typeface="+mn-cs"/>
              </a:rPr>
              <a:t> is a query processing method used with traditional RDMBS tables, where data is stored in row format. When a query is executed and accesses data in row store tables, the execution tree operators and child operators read each required row, across all the columns specified in the table schema. From each row that is read, SQL Server then retrieves the columns that are required for the result set, as referenced by a SELECT statement, JOIN predicate, or filter predicate.</a:t>
            </a:r>
          </a:p>
          <a:p>
            <a:r>
              <a:rPr lang="en-US" sz="882" b="0" i="0" kern="1200" baseline="0" dirty="0">
                <a:solidFill>
                  <a:schemeClr val="tx1"/>
                </a:solidFill>
                <a:effectLst/>
                <a:latin typeface="+mn-lt"/>
                <a:ea typeface="+mn-ea"/>
                <a:cs typeface="+mn-cs"/>
              </a:rPr>
              <a:t>Row mode execution is very efficient for OLTP scenarios, but can be less efficient when scanning large amounts of data, for example in Data Warehousing scenarios.</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Batch mode execution</a:t>
            </a:r>
          </a:p>
          <a:p>
            <a:r>
              <a:rPr lang="en-US" sz="882" b="0" i="1" kern="1200" baseline="0" dirty="0">
                <a:solidFill>
                  <a:schemeClr val="tx1"/>
                </a:solidFill>
                <a:effectLst/>
                <a:latin typeface="+mn-lt"/>
                <a:ea typeface="+mn-ea"/>
                <a:cs typeface="+mn-cs"/>
              </a:rPr>
              <a:t>Batch mode execution</a:t>
            </a:r>
            <a:r>
              <a:rPr lang="en-US" sz="882" b="0" i="0" kern="1200" baseline="0" dirty="0">
                <a:solidFill>
                  <a:schemeClr val="tx1"/>
                </a:solidFill>
                <a:effectLst/>
                <a:latin typeface="+mn-lt"/>
                <a:ea typeface="+mn-ea"/>
                <a:cs typeface="+mn-cs"/>
              </a:rPr>
              <a:t> is a query processing method used to process multiple rows together (hence the term batch). Each column within a batch is stored as a vector in a separate area of memory, so batch mode processing is vector-based. Batch mode processing also uses algorithms that are optimized for the multi-core CPUs and increased memory throughput that are found on modern hardware.</a:t>
            </a:r>
          </a:p>
          <a:p>
            <a:r>
              <a:rPr lang="en-US" sz="882" b="0" i="0" kern="1200" baseline="0" dirty="0">
                <a:solidFill>
                  <a:schemeClr val="tx1"/>
                </a:solidFill>
                <a:effectLst/>
                <a:latin typeface="+mn-lt"/>
                <a:ea typeface="+mn-ea"/>
                <a:cs typeface="+mn-cs"/>
              </a:rPr>
              <a:t>Batch mode execution is closely integrated with, and optimized around, the ColumnStore storage format. Batch mode processing operates on compressed data when possible and eliminates the exchange operator used by row mode execution. The result is better parallelism and faster performance.</a:t>
            </a:r>
          </a:p>
          <a:p>
            <a:r>
              <a:rPr lang="en-US" sz="882" b="0" i="0" kern="1200" baseline="0" dirty="0">
                <a:solidFill>
                  <a:schemeClr val="tx1"/>
                </a:solidFill>
                <a:effectLst/>
                <a:latin typeface="+mn-lt"/>
                <a:ea typeface="+mn-ea"/>
                <a:cs typeface="+mn-cs"/>
              </a:rPr>
              <a:t>When a query is executed in batch mode, and accesses data in ColumnStore indexes, the execution tree operators and child operators read multiple rows together in column segments. SQL Server reads only the columns required for the result, as referenced by a SELECT statement, JOIN predicate, or filter predica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Batch mode execution is very efficient in Data Warehousing scenarios, where large amounts of data are read and aggregated.</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104668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3889790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24572786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950560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95064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29842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70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9562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09772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914112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509A250-FF31-4206-8172-F9D3106AACB1}" type="datetimeFigureOut">
              <a:rPr kumimoji="0" lang="en-US" sz="1800" b="0" i="0" u="none" strike="noStrike" kern="1200" cap="none" spc="0" normalizeH="0" baseline="0" noProof="0" dirty="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1/2022</a:t>
            </a:fld>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76231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2558009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7009547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92785816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20090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475313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9459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0849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16245652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8792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527249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94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579124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0" y="0"/>
            <a:ext cx="12307823" cy="7050024"/>
          </a:xfrm>
          <a:prstGeom prst="rect">
            <a:avLst/>
          </a:prstGeom>
        </p:spPr>
      </p:pic>
    </p:spTree>
    <p:extLst>
      <p:ext uri="{BB962C8B-B14F-4D97-AF65-F5344CB8AC3E}">
        <p14:creationId xmlns:p14="http://schemas.microsoft.com/office/powerpoint/2010/main" val="206298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911772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01411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7117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04272380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048766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573685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6474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6692757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917099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1215766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334679603"/>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364941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0252767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25410898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3288950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7626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3582919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92612218"/>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36534028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8316651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520945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615395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7746950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6385106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107515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579251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66227010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66764461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44152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538409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371644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99677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50522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410897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9357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242551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58882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13429342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777003335"/>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558677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23352855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2.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56.xml"/><Relationship Id="rId7" Type="http://schemas.openxmlformats.org/officeDocument/2006/relationships/image" Target="../media/image4.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3.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theme" Target="../theme/theme4.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image" Target="../media/image7.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8" Type="http://schemas.openxmlformats.org/officeDocument/2006/relationships/slideLayout" Target="../slideLayouts/slideLayout66.xml"/><Relationship Id="rId51" Type="http://schemas.openxmlformats.org/officeDocument/2006/relationships/image" Target="../media/image6.emf"/><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66" r:id="rId45"/>
    <p:sldLayoutId id="2147483817" r:id="rId46"/>
    <p:sldLayoutId id="2147483818" r:id="rId47"/>
    <p:sldLayoutId id="2147483819" r:id="rId48"/>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2251749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7">
            <a:extLst>
              <a:ext uri="{BEBA8EAE-BF5A-486C-A8C5-ECC9F3942E4B}">
                <a14:imgProps xmlns:a14="http://schemas.microsoft.com/office/drawing/2010/main">
                  <a14:imgLayer r:embed="rId8">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94552338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371338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6.jfif"/><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20.png"/><Relationship Id="rId2" Type="http://schemas.openxmlformats.org/officeDocument/2006/relationships/customXml" Target="../../customXml/item5.xml"/><Relationship Id="rId1" Type="http://schemas.openxmlformats.org/officeDocument/2006/relationships/tags" Target="../tags/tag9.xml"/><Relationship Id="rId6" Type="http://schemas.openxmlformats.org/officeDocument/2006/relationships/notesSlide" Target="../notesSlides/notesSlide15.xml"/><Relationship Id="rId5" Type="http://schemas.openxmlformats.org/officeDocument/2006/relationships/slideLayout" Target="../slideLayouts/slideLayout9.xml"/><Relationship Id="rId4" Type="http://schemas.openxmlformats.org/officeDocument/2006/relationships/tags" Target="../tags/tag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9.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38.gif"/><Relationship Id="rId13" Type="http://schemas.openxmlformats.org/officeDocument/2006/relationships/image" Target="../media/image43.gif"/><Relationship Id="rId3" Type="http://schemas.openxmlformats.org/officeDocument/2006/relationships/image" Target="../media/image33.gif"/><Relationship Id="rId7" Type="http://schemas.openxmlformats.org/officeDocument/2006/relationships/image" Target="../media/image37.gif"/><Relationship Id="rId12" Type="http://schemas.openxmlformats.org/officeDocument/2006/relationships/image" Target="../media/image42.gif"/><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36.gif"/><Relationship Id="rId11" Type="http://schemas.openxmlformats.org/officeDocument/2006/relationships/image" Target="../media/image41.gif"/><Relationship Id="rId5" Type="http://schemas.openxmlformats.org/officeDocument/2006/relationships/image" Target="../media/image35.gif"/><Relationship Id="rId10" Type="http://schemas.openxmlformats.org/officeDocument/2006/relationships/image" Target="../media/image40.gif"/><Relationship Id="rId4" Type="http://schemas.openxmlformats.org/officeDocument/2006/relationships/image" Target="../media/image34.gif"/><Relationship Id="rId9" Type="http://schemas.openxmlformats.org/officeDocument/2006/relationships/image" Target="../media/image39.gif"/><Relationship Id="rId14" Type="http://schemas.openxmlformats.org/officeDocument/2006/relationships/image" Target="../media/image44.gif"/></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4.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xml"/><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52.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6.jfif"/><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20.png"/><Relationship Id="rId2" Type="http://schemas.openxmlformats.org/officeDocument/2006/relationships/customXml" Target="../../customXml/item10.xml"/><Relationship Id="rId1" Type="http://schemas.openxmlformats.org/officeDocument/2006/relationships/tags" Target="../tags/tag14.xml"/><Relationship Id="rId6" Type="http://schemas.openxmlformats.org/officeDocument/2006/relationships/notesSlide" Target="../notesSlides/notesSlide25.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ags" Target="../tags/tag16.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20.png"/><Relationship Id="rId2" Type="http://schemas.openxmlformats.org/officeDocument/2006/relationships/customXml" Target="../../customXml/item11.xml"/><Relationship Id="rId1" Type="http://schemas.openxmlformats.org/officeDocument/2006/relationships/tags" Target="../tags/tag5.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40.xml.rels><?xml version="1.0" encoding="UTF-8" standalone="yes"?>
<Relationships xmlns="http://schemas.openxmlformats.org/package/2006/relationships"><Relationship Id="rId8" Type="http://schemas.openxmlformats.org/officeDocument/2006/relationships/diagramData" Target="../diagrams/data16.xml"/><Relationship Id="rId3" Type="http://schemas.openxmlformats.org/officeDocument/2006/relationships/diagramData" Target="../diagrams/data15.xml"/><Relationship Id="rId7" Type="http://schemas.microsoft.com/office/2007/relationships/diagramDrawing" Target="../diagrams/drawing15.xml"/><Relationship Id="rId12" Type="http://schemas.microsoft.com/office/2007/relationships/diagramDrawing" Target="../diagrams/drawing16.xml"/><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diagramColors" Target="../diagrams/colors15.xml"/><Relationship Id="rId11" Type="http://schemas.openxmlformats.org/officeDocument/2006/relationships/diagramColors" Target="../diagrams/colors16.xml"/><Relationship Id="rId5" Type="http://schemas.openxmlformats.org/officeDocument/2006/relationships/diagramQuickStyle" Target="../diagrams/quickStyle15.xml"/><Relationship Id="rId10" Type="http://schemas.openxmlformats.org/officeDocument/2006/relationships/diagramQuickStyle" Target="../diagrams/quickStyle16.xml"/><Relationship Id="rId4" Type="http://schemas.openxmlformats.org/officeDocument/2006/relationships/diagramLayout" Target="../diagrams/layout15.xml"/><Relationship Id="rId9" Type="http://schemas.openxmlformats.org/officeDocument/2006/relationships/diagramLayout" Target="../diagrams/layout16.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diagramData" Target="../diagrams/data19.xml"/><Relationship Id="rId7" Type="http://schemas.microsoft.com/office/2007/relationships/diagramDrawing" Target="../diagrams/drawing19.xml"/><Relationship Id="rId12"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diagramColors" Target="../diagrams/colors19.xml"/><Relationship Id="rId11" Type="http://schemas.openxmlformats.org/officeDocument/2006/relationships/image" Target="../media/image59.png"/><Relationship Id="rId5" Type="http://schemas.openxmlformats.org/officeDocument/2006/relationships/diagramQuickStyle" Target="../diagrams/quickStyle19.xml"/><Relationship Id="rId10" Type="http://schemas.openxmlformats.org/officeDocument/2006/relationships/image" Target="../media/image58.png"/><Relationship Id="rId4" Type="http://schemas.openxmlformats.org/officeDocument/2006/relationships/diagramLayout" Target="../diagrams/layout19.xml"/><Relationship Id="rId9" Type="http://schemas.openxmlformats.org/officeDocument/2006/relationships/image" Target="../media/image57.png"/></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22.xml"/><Relationship Id="rId3" Type="http://schemas.openxmlformats.org/officeDocument/2006/relationships/diagramData" Target="../diagrams/data21.xml"/><Relationship Id="rId7" Type="http://schemas.microsoft.com/office/2007/relationships/diagramDrawing" Target="../diagrams/drawing21.xml"/><Relationship Id="rId12" Type="http://schemas.microsoft.com/office/2007/relationships/diagramDrawing" Target="../diagrams/drawing22.xml"/><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diagramColors" Target="../diagrams/colors21.xml"/><Relationship Id="rId11" Type="http://schemas.openxmlformats.org/officeDocument/2006/relationships/diagramColors" Target="../diagrams/colors22.xml"/><Relationship Id="rId5" Type="http://schemas.openxmlformats.org/officeDocument/2006/relationships/diagramQuickStyle" Target="../diagrams/quickStyle21.xml"/><Relationship Id="rId10" Type="http://schemas.openxmlformats.org/officeDocument/2006/relationships/diagramQuickStyle" Target="../diagrams/quickStyle22.xml"/><Relationship Id="rId4" Type="http://schemas.openxmlformats.org/officeDocument/2006/relationships/diagramLayout" Target="../diagrams/layout21.xml"/><Relationship Id="rId9" Type="http://schemas.openxmlformats.org/officeDocument/2006/relationships/diagramLayout" Target="../diagrams/layout22.xml"/></Relationships>
</file>

<file path=ppt/slides/_rels/slide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45.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39.xml"/><Relationship Id="rId1" Type="http://schemas.openxmlformats.org/officeDocument/2006/relationships/slideLayout" Target="../slideLayouts/slideLayout46.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0.xml"/><Relationship Id="rId1" Type="http://schemas.openxmlformats.org/officeDocument/2006/relationships/slideLayout" Target="../slideLayouts/slideLayout46.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7.xml"/><Relationship Id="rId4" Type="http://schemas.openxmlformats.org/officeDocument/2006/relationships/image" Target="../media/image65.png"/></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7.xml"/></Relationships>
</file>

<file path=ppt/slides/_rels/slide5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1.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5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5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5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5.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47.xml"/><Relationship Id="rId4" Type="http://schemas.openxmlformats.org/officeDocument/2006/relationships/image" Target="../media/image69.png"/></Relationships>
</file>

<file path=ppt/slides/_rels/slide6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7.xml"/></Relationships>
</file>

<file path=ppt/slides/_rels/slide6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7.xml"/></Relationships>
</file>

<file path=ppt/slides/_rels/slide6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7.xml"/></Relationships>
</file>

<file path=ppt/slides/_rels/slide6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7.xml"/><Relationship Id="rId1" Type="http://schemas.openxmlformats.org/officeDocument/2006/relationships/slideLayout" Target="../slideLayouts/slideLayout46.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8.xml"/><Relationship Id="rId1" Type="http://schemas.openxmlformats.org/officeDocument/2006/relationships/slideLayout" Target="../slideLayouts/slideLayout46.xml"/></Relationships>
</file>

<file path=ppt/slides/_rels/slide6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54.xml"/><Relationship Id="rId5" Type="http://schemas.openxmlformats.org/officeDocument/2006/relationships/image" Target="../media/image24.png"/><Relationship Id="rId4" Type="http://schemas.openxmlformats.org/officeDocument/2006/relationships/image" Target="../media/image23.svg"/></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0.xml"/><Relationship Id="rId1" Type="http://schemas.openxmlformats.org/officeDocument/2006/relationships/slideLayout" Target="../slideLayouts/slideLayout46.xml"/></Relationships>
</file>

<file path=ppt/slides/_rels/slide7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1.xml"/><Relationship Id="rId1" Type="http://schemas.openxmlformats.org/officeDocument/2006/relationships/slideLayout" Target="../slideLayouts/slideLayout46.xml"/></Relationships>
</file>

<file path=ppt/slides/_rels/slide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2.xml"/><Relationship Id="rId1" Type="http://schemas.openxmlformats.org/officeDocument/2006/relationships/slideLayout" Target="../slideLayouts/slideLayout46.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3.xml"/><Relationship Id="rId1" Type="http://schemas.openxmlformats.org/officeDocument/2006/relationships/slideLayout" Target="../slideLayouts/slideLayout46.xml"/></Relationships>
</file>

<file path=ppt/slides/_rels/slide7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4.xml"/><Relationship Id="rId1" Type="http://schemas.openxmlformats.org/officeDocument/2006/relationships/slideLayout" Target="../slideLayouts/slideLayout48.xml"/></Relationships>
</file>

<file path=ppt/slides/_rels/slide7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48.xml"/></Relationships>
</file>

<file path=ppt/slides/_rels/slide7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4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Query Execution and Pla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5</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537678353"/>
              </p:ext>
            </p:extLst>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5789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xecution modes</a:t>
            </a:r>
          </a:p>
        </p:txBody>
      </p:sp>
      <p:graphicFrame>
        <p:nvGraphicFramePr>
          <p:cNvPr id="10" name="Diagram 9">
            <a:extLst>
              <a:ext uri="{FF2B5EF4-FFF2-40B4-BE49-F238E27FC236}">
                <a16:creationId xmlns:a16="http://schemas.microsoft.com/office/drawing/2014/main" id="{2E361A70-62E8-4C24-8093-F2EEBBF0058D}"/>
              </a:ext>
            </a:extLst>
          </p:cNvPr>
          <p:cNvGraphicFramePr/>
          <p:nvPr>
            <p:extLst>
              <p:ext uri="{D42A27DB-BD31-4B8C-83A1-F6EECF244321}">
                <p14:modId xmlns:p14="http://schemas.microsoft.com/office/powerpoint/2010/main" val="2425545949"/>
              </p:ext>
            </p:extLst>
          </p:nvPr>
        </p:nvGraphicFramePr>
        <p:xfrm>
          <a:off x="439971" y="1248048"/>
          <a:ext cx="113120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Main components</a:t>
            </a:r>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486400" y="2057399"/>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extLst>
                <p:ext uri="{D42A27DB-BD31-4B8C-83A1-F6EECF244321}">
                  <p14:modId xmlns:p14="http://schemas.microsoft.com/office/powerpoint/2010/main" val="2644843710"/>
                </p:ext>
              </p:extLst>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a:buSzPct val="110000"/>
              </a:pPr>
              <a:r>
                <a:rPr lang="en-US" sz="1600" dirty="0">
                  <a:solidFill>
                    <a:srgbClr val="000000"/>
                  </a:solidFill>
                  <a:latin typeface="Segoe UI" panose="020B0502040204020203" pitchFamily="34" charset="0"/>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2</a:t>
              </a:r>
            </a:p>
          </p:txBody>
        </p:sp>
      </p:gr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55638" y="2057398"/>
            <a:ext cx="4830762" cy="4170365"/>
          </a:xfrm>
        </p:spPr>
        <p:txBody>
          <a:bodyPr>
            <a:normAutofit/>
          </a:bodyPr>
          <a:lstStyle/>
          <a:p>
            <a:pPr marL="0" indent="0">
              <a:buNone/>
            </a:pPr>
            <a:r>
              <a:rPr lang="en-US" b="1" dirty="0"/>
              <a:t>Compiled Plan (or Query Plan)</a:t>
            </a:r>
          </a:p>
          <a:p>
            <a:pPr marL="0" indent="0">
              <a:buNone/>
            </a:pPr>
            <a:r>
              <a:rPr lang="en-US" sz="2200" dirty="0"/>
              <a:t>Compilation produces a query plan, which is a read-only data structure used by any number of users.</a:t>
            </a:r>
          </a:p>
          <a:p>
            <a:pPr marL="0" indent="0">
              <a:buNone/>
            </a:pPr>
            <a:endParaRPr lang="en-US" sz="2200" dirty="0"/>
          </a:p>
          <a:p>
            <a:pPr marL="0" indent="0">
              <a:buNone/>
            </a:pPr>
            <a:r>
              <a:rPr lang="en-US" b="1" dirty="0"/>
              <a:t>Execution Context</a:t>
            </a:r>
          </a:p>
          <a:p>
            <a:pPr marL="0" indent="0">
              <a:buNone/>
            </a:pPr>
            <a:r>
              <a:rPr lang="en-US" sz="2200" dirty="0"/>
              <a:t>A data structure used to hold information specific to a query execution, such as parameter values.</a:t>
            </a:r>
          </a:p>
          <a:p>
            <a:endParaRPr lang="en-US" sz="2200" dirty="0"/>
          </a:p>
        </p:txBody>
      </p:sp>
    </p:spTree>
    <p:extLst>
      <p:ext uri="{BB962C8B-B14F-4D97-AF65-F5344CB8AC3E}">
        <p14:creationId xmlns:p14="http://schemas.microsoft.com/office/powerpoint/2010/main" val="3727622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Cach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556780"/>
            <a:ext cx="11155363" cy="1567420"/>
          </a:xfrm>
        </p:spPr>
        <p:txBody>
          <a:bodyPr>
            <a:normAutofit/>
          </a:bodyPr>
          <a:lstStyle/>
          <a:p>
            <a:pPr marL="0" indent="0">
              <a:buNone/>
            </a:pPr>
            <a:r>
              <a:rPr lang="en-US" dirty="0"/>
              <a:t>Part of the memory pool used to store execution plans – also known as plan cache.</a:t>
            </a:r>
          </a:p>
          <a:p>
            <a:pPr marL="0" indent="0">
              <a:buNone/>
            </a:pPr>
            <a:endParaRPr lang="en-US" dirty="0"/>
          </a:p>
          <a:p>
            <a:pPr marL="0" indent="0">
              <a:buNone/>
            </a:pPr>
            <a:r>
              <a:rPr lang="en-US" dirty="0"/>
              <a:t>The plan cache has two stores for all compiled plans:</a:t>
            </a:r>
          </a:p>
          <a:p>
            <a:pPr marL="0" indent="0">
              <a:buNone/>
            </a:pPr>
            <a:endParaRPr lang="en-US" dirty="0"/>
          </a:p>
        </p:txBody>
      </p:sp>
      <p:graphicFrame>
        <p:nvGraphicFramePr>
          <p:cNvPr id="10" name="Diagram 9">
            <a:extLst>
              <a:ext uri="{FF2B5EF4-FFF2-40B4-BE49-F238E27FC236}">
                <a16:creationId xmlns:a16="http://schemas.microsoft.com/office/drawing/2014/main" id="{FCEC238A-94EC-4139-86D0-C4CF104F2FA0}"/>
              </a:ext>
            </a:extLst>
          </p:cNvPr>
          <p:cNvGraphicFramePr/>
          <p:nvPr>
            <p:extLst>
              <p:ext uri="{D42A27DB-BD31-4B8C-83A1-F6EECF244321}">
                <p14:modId xmlns:p14="http://schemas.microsoft.com/office/powerpoint/2010/main" val="54201360"/>
              </p:ext>
            </p:extLst>
          </p:nvPr>
        </p:nvGraphicFramePr>
        <p:xfrm>
          <a:off x="683068" y="2971800"/>
          <a:ext cx="11155363" cy="21008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97784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 an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cepts</a:t>
            </a:r>
          </a:p>
        </p:txBody>
      </p:sp>
      <p:graphicFrame>
        <p:nvGraphicFramePr>
          <p:cNvPr id="4" name="Diagram 3">
            <a:extLst>
              <a:ext uri="{FF2B5EF4-FFF2-40B4-BE49-F238E27FC236}">
                <a16:creationId xmlns:a16="http://schemas.microsoft.com/office/drawing/2014/main" id="{D437032D-66F5-4217-A6E7-5417D8E385E2}"/>
              </a:ext>
            </a:extLst>
          </p:cNvPr>
          <p:cNvGraphicFramePr/>
          <p:nvPr>
            <p:extLst>
              <p:ext uri="{D42A27DB-BD31-4B8C-83A1-F6EECF244321}">
                <p14:modId xmlns:p14="http://schemas.microsoft.com/office/powerpoint/2010/main" val="1714369668"/>
              </p:ext>
            </p:extLst>
          </p:nvPr>
        </p:nvGraphicFramePr>
        <p:xfrm>
          <a:off x="868679" y="1684097"/>
          <a:ext cx="10515600" cy="4632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9391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graphicFrame>
        <p:nvGraphicFramePr>
          <p:cNvPr id="5" name="Content Placeholder 4">
            <a:extLst>
              <a:ext uri="{FF2B5EF4-FFF2-40B4-BE49-F238E27FC236}">
                <a16:creationId xmlns:a16="http://schemas.microsoft.com/office/drawing/2014/main" id="{029E5A90-5CBC-473C-BA75-DD641F35B8FF}"/>
              </a:ext>
            </a:extLst>
          </p:cNvPr>
          <p:cNvGraphicFramePr>
            <a:graphicFrameLocks noGrp="1"/>
          </p:cNvGraphicFramePr>
          <p:nvPr>
            <p:ph sz="quarter" idx="13"/>
            <p:extLst>
              <p:ext uri="{D42A27DB-BD31-4B8C-83A1-F6EECF244321}">
                <p14:modId xmlns:p14="http://schemas.microsoft.com/office/powerpoint/2010/main" val="1994450753"/>
              </p:ext>
            </p:extLst>
          </p:nvPr>
        </p:nvGraphicFramePr>
        <p:xfrm>
          <a:off x="655637" y="1387989"/>
          <a:ext cx="11056626" cy="40820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290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normAutofit/>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Recompilation reasons</a:t>
            </a:r>
          </a:p>
        </p:txBody>
      </p:sp>
      <p:graphicFrame>
        <p:nvGraphicFramePr>
          <p:cNvPr id="5" name="Content Placeholder 4">
            <a:extLst>
              <a:ext uri="{FF2B5EF4-FFF2-40B4-BE49-F238E27FC236}">
                <a16:creationId xmlns:a16="http://schemas.microsoft.com/office/drawing/2014/main" id="{4E0C6875-C2A8-44EE-BFBF-C01D9EE7766A}"/>
              </a:ext>
            </a:extLst>
          </p:cNvPr>
          <p:cNvGraphicFramePr>
            <a:graphicFrameLocks noGrp="1"/>
          </p:cNvGraphicFramePr>
          <p:nvPr>
            <p:ph sz="quarter" idx="13"/>
            <p:extLst>
              <p:ext uri="{D42A27DB-BD31-4B8C-83A1-F6EECF244321}">
                <p14:modId xmlns:p14="http://schemas.microsoft.com/office/powerpoint/2010/main" val="2241139630"/>
              </p:ext>
            </p:extLst>
          </p:nvPr>
        </p:nvGraphicFramePr>
        <p:xfrm>
          <a:off x="655638" y="1408114"/>
          <a:ext cx="10880726" cy="5068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3909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Plan Analysis</a:t>
            </a:r>
          </a:p>
        </p:txBody>
      </p:sp>
    </p:spTree>
    <p:extLst>
      <p:ext uri="{BB962C8B-B14F-4D97-AF65-F5344CB8AC3E}">
        <p14:creationId xmlns:p14="http://schemas.microsoft.com/office/powerpoint/2010/main" val="57495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Read execution plans.</a:t>
            </a:r>
          </a:p>
          <a:p>
            <a:r>
              <a:rPr lang="en-US" dirty="0"/>
              <a:t>Understand logical and physical join operators.</a:t>
            </a:r>
          </a:p>
          <a:p>
            <a:r>
              <a:rPr lang="en-US" dirty="0"/>
              <a:t>Describe data ac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Query Execution</a:t>
            </a:r>
          </a:p>
          <a:p>
            <a:r>
              <a:rPr lang="en-US" dirty="0"/>
              <a:t>Lesson 2: SQL Server Query Plan Analysis</a:t>
            </a:r>
          </a:p>
          <a:p>
            <a:r>
              <a:rPr lang="en-US" dirty="0"/>
              <a:t>Lesson 3: SQL Server Query Plan Analysis</a:t>
            </a:r>
          </a:p>
          <a:p>
            <a:r>
              <a:rPr lang="en-US" dirty="0"/>
              <a:t>Lesson 4: Troubleshooting with Query Store</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1537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tents of an Execution Plan</a:t>
            </a:r>
          </a:p>
        </p:txBody>
      </p:sp>
      <p:graphicFrame>
        <p:nvGraphicFramePr>
          <p:cNvPr id="5" name="Content Placeholder 4">
            <a:extLst>
              <a:ext uri="{FF2B5EF4-FFF2-40B4-BE49-F238E27FC236}">
                <a16:creationId xmlns:a16="http://schemas.microsoft.com/office/drawing/2014/main" id="{54FAC4F4-38DA-480E-819C-168F142E37A2}"/>
              </a:ext>
            </a:extLst>
          </p:cNvPr>
          <p:cNvGraphicFramePr>
            <a:graphicFrameLocks noGrp="1"/>
          </p:cNvGraphicFramePr>
          <p:nvPr>
            <p:ph sz="quarter" idx="13"/>
            <p:extLst>
              <p:ext uri="{D42A27DB-BD31-4B8C-83A1-F6EECF244321}">
                <p14:modId xmlns:p14="http://schemas.microsoft.com/office/powerpoint/2010/main" val="3174600943"/>
              </p:ext>
            </p:extLst>
          </p:nvPr>
        </p:nvGraphicFramePr>
        <p:xfrm>
          <a:off x="380999" y="1143000"/>
          <a:ext cx="11155364" cy="5129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8838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Text and XML</a:t>
            </a:r>
            <a:endParaRPr lang="en-US" dirty="0"/>
          </a:p>
        </p:txBody>
      </p:sp>
      <p:graphicFrame>
        <p:nvGraphicFramePr>
          <p:cNvPr id="5" name="Table 5">
            <a:extLst>
              <a:ext uri="{FF2B5EF4-FFF2-40B4-BE49-F238E27FC236}">
                <a16:creationId xmlns:a16="http://schemas.microsoft.com/office/drawing/2014/main" id="{8F820CDF-BD1D-4AD1-BE1D-7130A022C764}"/>
              </a:ext>
            </a:extLst>
          </p:cNvPr>
          <p:cNvGraphicFramePr>
            <a:graphicFrameLocks noGrp="1"/>
          </p:cNvGraphicFramePr>
          <p:nvPr>
            <p:ph sz="quarter" idx="13"/>
          </p:nvPr>
        </p:nvGraphicFramePr>
        <p:xfrm>
          <a:off x="655638" y="1408113"/>
          <a:ext cx="10880725" cy="3042920"/>
        </p:xfrm>
        <a:graphic>
          <a:graphicData uri="http://schemas.openxmlformats.org/drawingml/2006/table">
            <a:tbl>
              <a:tblPr firstRow="1" bandRow="1">
                <a:tableStyleId>{69012ECD-51FC-41F1-AA8D-1B2483CD663E}</a:tableStyleId>
              </a:tblPr>
              <a:tblGrid>
                <a:gridCol w="1249362">
                  <a:extLst>
                    <a:ext uri="{9D8B030D-6E8A-4147-A177-3AD203B41FA5}">
                      <a16:colId xmlns:a16="http://schemas.microsoft.com/office/drawing/2014/main" val="25033486"/>
                    </a:ext>
                  </a:extLst>
                </a:gridCol>
                <a:gridCol w="3429000">
                  <a:extLst>
                    <a:ext uri="{9D8B030D-6E8A-4147-A177-3AD203B41FA5}">
                      <a16:colId xmlns:a16="http://schemas.microsoft.com/office/drawing/2014/main" val="478991919"/>
                    </a:ext>
                  </a:extLst>
                </a:gridCol>
                <a:gridCol w="1219200">
                  <a:extLst>
                    <a:ext uri="{9D8B030D-6E8A-4147-A177-3AD203B41FA5}">
                      <a16:colId xmlns:a16="http://schemas.microsoft.com/office/drawing/2014/main" val="3949223423"/>
                    </a:ext>
                  </a:extLst>
                </a:gridCol>
                <a:gridCol w="2362200">
                  <a:extLst>
                    <a:ext uri="{9D8B030D-6E8A-4147-A177-3AD203B41FA5}">
                      <a16:colId xmlns:a16="http://schemas.microsoft.com/office/drawing/2014/main" val="78640999"/>
                    </a:ext>
                  </a:extLst>
                </a:gridCol>
                <a:gridCol w="2620963">
                  <a:extLst>
                    <a:ext uri="{9D8B030D-6E8A-4147-A177-3AD203B41FA5}">
                      <a16:colId xmlns:a16="http://schemas.microsoft.com/office/drawing/2014/main" val="2549998966"/>
                    </a:ext>
                  </a:extLst>
                </a:gridCol>
              </a:tblGrid>
              <a:tr h="370840">
                <a:tc>
                  <a:txBody>
                    <a:bodyPr/>
                    <a:lstStyle/>
                    <a:p>
                      <a:endParaRPr lang="en-US" dirty="0"/>
                    </a:p>
                  </a:txBody>
                  <a:tcPr/>
                </a:tc>
                <a:tc>
                  <a:txBody>
                    <a:bodyPr/>
                    <a:lstStyle/>
                    <a:p>
                      <a:r>
                        <a:rPr lang="es-MX" dirty="0"/>
                        <a:t>Command</a:t>
                      </a:r>
                      <a:endParaRPr lang="en-US" dirty="0"/>
                    </a:p>
                  </a:txBody>
                  <a:tcPr/>
                </a:tc>
                <a:tc>
                  <a:txBody>
                    <a:bodyPr/>
                    <a:lstStyle/>
                    <a:p>
                      <a:r>
                        <a:rPr lang="en-US" dirty="0"/>
                        <a:t>Execute que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strike="noStrike" kern="1200" baseline="0" dirty="0">
                          <a:solidFill>
                            <a:schemeClr val="lt1"/>
                          </a:solidFill>
                        </a:rPr>
                        <a:t>Include estimated row counts &amp; stats</a:t>
                      </a:r>
                      <a:r>
                        <a:rPr lang="en-US" sz="1800" b="0" u="none" strike="noStrike" kern="1200" baseline="0" dirty="0">
                          <a:solidFill>
                            <a:schemeClr val="lt1"/>
                          </a:solidFill>
                        </a:rPr>
                        <a:t> (Estimated Query Plan)</a:t>
                      </a:r>
                      <a:endParaRPr lang="en-US" sz="1800" b="0" i="0" u="none" strike="noStrike" kern="1200" baseline="0" dirty="0">
                        <a:solidFill>
                          <a:schemeClr val="lt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strike="noStrike" kern="1200" baseline="0" dirty="0">
                          <a:solidFill>
                            <a:schemeClr val="lt1"/>
                          </a:solidFill>
                        </a:rPr>
                        <a:t>Include actual row counts &amp; stats</a:t>
                      </a:r>
                      <a:r>
                        <a:rPr lang="en-US" sz="1800" b="0" u="none" strike="noStrike" kern="1200" baseline="0" dirty="0">
                          <a:solidFill>
                            <a:schemeClr val="lt1"/>
                          </a:solidFill>
                        </a:rPr>
                        <a:t>	</a:t>
                      </a:r>
                    </a:p>
                    <a:p>
                      <a:r>
                        <a:rPr lang="en-US" sz="1800" b="0" u="none" strike="noStrike" kern="1200" baseline="0" dirty="0">
                          <a:solidFill>
                            <a:schemeClr val="lt1"/>
                          </a:solidFill>
                        </a:rPr>
                        <a:t>(Actual Query Plan)</a:t>
                      </a:r>
                      <a:endParaRPr lang="en-US" dirty="0"/>
                    </a:p>
                  </a:txBody>
                  <a:tcPr/>
                </a:tc>
                <a:extLst>
                  <a:ext uri="{0D108BD9-81ED-4DB2-BD59-A6C34878D82A}">
                    <a16:rowId xmlns:a16="http://schemas.microsoft.com/office/drawing/2014/main" val="2104260164"/>
                  </a:ext>
                </a:extLst>
              </a:tr>
              <a:tr h="370840">
                <a:tc rowSpan="3">
                  <a:txBody>
                    <a:bodyPr/>
                    <a:lstStyle/>
                    <a:p>
                      <a:r>
                        <a:rPr lang="es-MX" dirty="0"/>
                        <a:t>Text Pla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HOWPLAN_TEXT ON	</a:t>
                      </a:r>
                      <a:endParaRPr lang="en-US" sz="1800" b="0" i="0" u="none" strike="noStrike" kern="1200" baseline="0" dirty="0">
                        <a:solidFill>
                          <a:schemeClr val="dk1"/>
                        </a:solidFill>
                        <a:latin typeface="+mn-lt"/>
                        <a:ea typeface="+mn-ea"/>
                        <a:cs typeface="+mn-cs"/>
                      </a:endParaRPr>
                    </a:p>
                  </a:txBody>
                  <a:tcPr/>
                </a:tc>
                <a:tc>
                  <a:txBody>
                    <a:bodyPr/>
                    <a:lstStyle/>
                    <a:p>
                      <a:r>
                        <a:rPr lang="es-MX" dirty="0"/>
                        <a:t>No</a:t>
                      </a:r>
                    </a:p>
                  </a:txBody>
                  <a:tcPr/>
                </a:tc>
                <a:tc>
                  <a:txBody>
                    <a:bodyPr/>
                    <a:lstStyle/>
                    <a:p>
                      <a:r>
                        <a:rPr lang="es-MX" dirty="0"/>
                        <a:t>No</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3906350"/>
                  </a:ext>
                </a:extLst>
              </a:tr>
              <a:tr h="370840">
                <a:tc vMerge="1">
                  <a:txBody>
                    <a:bodyPr/>
                    <a:lstStyle/>
                    <a:p>
                      <a:endParaRPr lang="en-US" dirty="0"/>
                    </a:p>
                  </a:txBody>
                  <a:tcPr/>
                </a:tc>
                <a:tc>
                  <a:txBody>
                    <a:bodyPr/>
                    <a:lstStyle/>
                    <a:p>
                      <a:r>
                        <a:rPr lang="en-US" dirty="0"/>
                        <a:t>SET SHOWPLAN_AL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214553178"/>
                  </a:ext>
                </a:extLst>
              </a:tr>
              <a:tr h="370840">
                <a:tc vMerge="1">
                  <a:txBody>
                    <a:bodyPr/>
                    <a:lstStyle/>
                    <a:p>
                      <a:endParaRPr lang="en-US" dirty="0"/>
                    </a:p>
                  </a:txBody>
                  <a:tcPr/>
                </a:tc>
                <a:tc>
                  <a:txBody>
                    <a:bodyPr/>
                    <a:lstStyle/>
                    <a:p>
                      <a:r>
                        <a:rPr lang="en-US" dirty="0"/>
                        <a:t>SET STATISTICS PROFILE ON</a:t>
                      </a:r>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2120074511"/>
                  </a:ext>
                </a:extLst>
              </a:tr>
              <a:tr h="370840">
                <a:tc rowSpan="2">
                  <a:txBody>
                    <a:bodyPr/>
                    <a:lstStyle/>
                    <a:p>
                      <a:r>
                        <a:rPr lang="es-MX" dirty="0"/>
                        <a:t>XML Plan</a:t>
                      </a:r>
                      <a:endParaRPr lang="en-US" dirty="0"/>
                    </a:p>
                  </a:txBody>
                  <a:tcPr/>
                </a:tc>
                <a:tc>
                  <a:txBody>
                    <a:bodyPr/>
                    <a:lstStyle/>
                    <a:p>
                      <a:r>
                        <a:rPr lang="en-US" dirty="0"/>
                        <a:t>SET SHOWPLAN_XM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06583987"/>
                  </a:ext>
                </a:extLst>
              </a:tr>
              <a:tr h="370840">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TATISTICS PROFILE XML</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737347604"/>
                  </a:ext>
                </a:extLst>
              </a:tr>
            </a:tbl>
          </a:graphicData>
        </a:graphic>
      </p:graphicFrame>
    </p:spTree>
    <p:extLst>
      <p:ext uri="{BB962C8B-B14F-4D97-AF65-F5344CB8AC3E}">
        <p14:creationId xmlns:p14="http://schemas.microsoft.com/office/powerpoint/2010/main" val="110240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29BD118-B9CA-426C-8EFD-5A194B3BCD4B}"/>
              </a:ext>
            </a:extLst>
          </p:cNvPr>
          <p:cNvPicPr>
            <a:picLocks noChangeAspect="1"/>
          </p:cNvPicPr>
          <p:nvPr/>
        </p:nvPicPr>
        <p:blipFill>
          <a:blip r:embed="rId3"/>
          <a:stretch>
            <a:fillRect/>
          </a:stretch>
        </p:blipFill>
        <p:spPr>
          <a:xfrm>
            <a:off x="530588" y="1780576"/>
            <a:ext cx="10420107" cy="4890879"/>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Execution Flow</a:t>
            </a:r>
            <a:endParaRPr lang="en-US" dirty="0"/>
          </a:p>
        </p:txBody>
      </p:sp>
      <p:sp>
        <p:nvSpPr>
          <p:cNvPr id="5" name="Text Placeholder 8">
            <a:extLst>
              <a:ext uri="{FF2B5EF4-FFF2-40B4-BE49-F238E27FC236}">
                <a16:creationId xmlns:a16="http://schemas.microsoft.com/office/drawing/2014/main" id="{7FE2D393-5B11-4ED9-A753-3242CAC2B5B2}"/>
              </a:ext>
            </a:extLst>
          </p:cNvPr>
          <p:cNvSpPr txBox="1">
            <a:spLocks/>
          </p:cNvSpPr>
          <p:nvPr/>
        </p:nvSpPr>
        <p:spPr>
          <a:xfrm>
            <a:off x="402336" y="1749552"/>
            <a:ext cx="11173968" cy="4956048"/>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a:p>
            <a:endParaRPr lang="en-US" dirty="0"/>
          </a:p>
        </p:txBody>
      </p:sp>
      <p:sp>
        <p:nvSpPr>
          <p:cNvPr id="7" name="Rectangle 6">
            <a:extLst>
              <a:ext uri="{FF2B5EF4-FFF2-40B4-BE49-F238E27FC236}">
                <a16:creationId xmlns:a16="http://schemas.microsoft.com/office/drawing/2014/main" id="{439CE905-1E40-4DF4-AAB7-B4708DE39F71}"/>
              </a:ext>
            </a:extLst>
          </p:cNvPr>
          <p:cNvSpPr/>
          <p:nvPr/>
        </p:nvSpPr>
        <p:spPr>
          <a:xfrm>
            <a:off x="8551682" y="2955541"/>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8" name="Rectangle 7">
            <a:extLst>
              <a:ext uri="{FF2B5EF4-FFF2-40B4-BE49-F238E27FC236}">
                <a16:creationId xmlns:a16="http://schemas.microsoft.com/office/drawing/2014/main" id="{9642542A-325A-444C-943B-6EBAEF3A41AC}"/>
              </a:ext>
            </a:extLst>
          </p:cNvPr>
          <p:cNvSpPr/>
          <p:nvPr/>
        </p:nvSpPr>
        <p:spPr>
          <a:xfrm>
            <a:off x="8551682" y="1736858"/>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0" name="Right Arrow 32">
            <a:extLst>
              <a:ext uri="{FF2B5EF4-FFF2-40B4-BE49-F238E27FC236}">
                <a16:creationId xmlns:a16="http://schemas.microsoft.com/office/drawing/2014/main" id="{62D72855-10C5-44D0-9958-4F6E50B4ADA5}"/>
              </a:ext>
            </a:extLst>
          </p:cNvPr>
          <p:cNvSpPr/>
          <p:nvPr/>
        </p:nvSpPr>
        <p:spPr>
          <a:xfrm rot="10800000">
            <a:off x="11017691" y="3058549"/>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1" name="TextBox 10">
            <a:extLst>
              <a:ext uri="{FF2B5EF4-FFF2-40B4-BE49-F238E27FC236}">
                <a16:creationId xmlns:a16="http://schemas.microsoft.com/office/drawing/2014/main" id="{2224CD71-60DA-4317-87E5-72D450424779}"/>
              </a:ext>
            </a:extLst>
          </p:cNvPr>
          <p:cNvSpPr txBox="1"/>
          <p:nvPr/>
        </p:nvSpPr>
        <p:spPr>
          <a:xfrm>
            <a:off x="10948342" y="1993372"/>
            <a:ext cx="811441" cy="646331"/>
          </a:xfrm>
          <a:prstGeom prst="rect">
            <a:avLst/>
          </a:prstGeom>
          <a:noFill/>
        </p:spPr>
        <p:txBody>
          <a:bodyPr wrap="none" rtlCol="0">
            <a:spAutoFit/>
          </a:bodyPr>
          <a:lstStyle/>
          <a:p>
            <a:pPr>
              <a:buSzPct val="110000"/>
            </a:pPr>
            <a:r>
              <a:rPr lang="en-AU" b="1" dirty="0">
                <a:solidFill>
                  <a:srgbClr val="385593"/>
                </a:solidFill>
                <a:latin typeface="Segoe UI Light" panose="020B0502040204020203" pitchFamily="34" charset="0"/>
                <a:cs typeface="Segoe UI Light" panose="020B0502040204020203" pitchFamily="34" charset="0"/>
              </a:rPr>
              <a:t>Outer </a:t>
            </a:r>
          </a:p>
          <a:p>
            <a:pPr>
              <a:buSzPct val="110000"/>
            </a:pPr>
            <a:r>
              <a:rPr lang="en-AU" b="1" dirty="0">
                <a:solidFill>
                  <a:srgbClr val="385593"/>
                </a:solidFill>
                <a:latin typeface="Segoe UI Light" panose="020B0502040204020203" pitchFamily="34" charset="0"/>
                <a:cs typeface="Segoe UI Light" panose="020B0502040204020203" pitchFamily="34" charset="0"/>
              </a:rPr>
              <a:t>Table</a:t>
            </a:r>
            <a:endParaRPr lang="en-AU" b="1" dirty="0">
              <a:solidFill>
                <a:prstClr val="white"/>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B21B801E-94C2-416D-B6EF-30A009D6BABB}"/>
              </a:ext>
            </a:extLst>
          </p:cNvPr>
          <p:cNvSpPr txBox="1"/>
          <p:nvPr/>
        </p:nvSpPr>
        <p:spPr>
          <a:xfrm>
            <a:off x="10978831" y="3138030"/>
            <a:ext cx="763952" cy="646331"/>
          </a:xfrm>
          <a:prstGeom prst="rect">
            <a:avLst/>
          </a:prstGeom>
          <a:noFill/>
        </p:spPr>
        <p:txBody>
          <a:bodyPr wrap="square" rtlCol="0">
            <a:spAutoFit/>
          </a:bodyPr>
          <a:lstStyle/>
          <a:p>
            <a:pPr>
              <a:buSzPct val="110000"/>
            </a:pPr>
            <a:r>
              <a:rPr lang="en-AU" b="1" dirty="0">
                <a:solidFill>
                  <a:srgbClr val="334C85"/>
                </a:solidFill>
                <a:latin typeface="Segoe UI Light" panose="020B0502040204020203" pitchFamily="34" charset="0"/>
                <a:cs typeface="Segoe UI Light" panose="020B0502040204020203" pitchFamily="34" charset="0"/>
              </a:rPr>
              <a:t>Inner table</a:t>
            </a:r>
          </a:p>
        </p:txBody>
      </p:sp>
      <p:sp>
        <p:nvSpPr>
          <p:cNvPr id="14" name="TextBox 13">
            <a:extLst>
              <a:ext uri="{FF2B5EF4-FFF2-40B4-BE49-F238E27FC236}">
                <a16:creationId xmlns:a16="http://schemas.microsoft.com/office/drawing/2014/main" id="{E35CE312-6ED7-44DD-8D1B-615F04F0D4D1}"/>
              </a:ext>
            </a:extLst>
          </p:cNvPr>
          <p:cNvSpPr txBox="1"/>
          <p:nvPr/>
        </p:nvSpPr>
        <p:spPr>
          <a:xfrm>
            <a:off x="10661526" y="1779179"/>
            <a:ext cx="266420" cy="369332"/>
          </a:xfrm>
          <a:prstGeom prst="rect">
            <a:avLst/>
          </a:prstGeom>
          <a:noFill/>
        </p:spPr>
        <p:txBody>
          <a:bodyPr wrap="none" rtlCol="0">
            <a:spAutoFit/>
          </a:bodyPr>
          <a:lstStyle/>
          <a:p>
            <a:pPr>
              <a:buSzPct val="110000"/>
            </a:pPr>
            <a:r>
              <a:rPr lang="en-AU" dirty="0">
                <a:solidFill>
                  <a:srgbClr val="334C85"/>
                </a:solidFill>
                <a:latin typeface="Segoe UI Light" panose="020B0502040204020203" pitchFamily="34" charset="0"/>
              </a:rPr>
              <a:t>1</a:t>
            </a:r>
          </a:p>
        </p:txBody>
      </p:sp>
      <p:sp>
        <p:nvSpPr>
          <p:cNvPr id="15" name="TextBox 14">
            <a:extLst>
              <a:ext uri="{FF2B5EF4-FFF2-40B4-BE49-F238E27FC236}">
                <a16:creationId xmlns:a16="http://schemas.microsoft.com/office/drawing/2014/main" id="{75366D26-DDCF-4B22-A6CC-1086C4A66DDF}"/>
              </a:ext>
            </a:extLst>
          </p:cNvPr>
          <p:cNvSpPr txBox="1"/>
          <p:nvPr/>
        </p:nvSpPr>
        <p:spPr>
          <a:xfrm>
            <a:off x="10660954" y="2957131"/>
            <a:ext cx="235646" cy="379927"/>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2</a:t>
            </a:r>
          </a:p>
        </p:txBody>
      </p:sp>
      <p:sp>
        <p:nvSpPr>
          <p:cNvPr id="16" name="Rectangle 15">
            <a:extLst>
              <a:ext uri="{FF2B5EF4-FFF2-40B4-BE49-F238E27FC236}">
                <a16:creationId xmlns:a16="http://schemas.microsoft.com/office/drawing/2014/main" id="{76CD0A62-E722-4033-8C2A-35930BC70C38}"/>
              </a:ext>
            </a:extLst>
          </p:cNvPr>
          <p:cNvSpPr/>
          <p:nvPr/>
        </p:nvSpPr>
        <p:spPr>
          <a:xfrm>
            <a:off x="4876800" y="1736857"/>
            <a:ext cx="6051146" cy="2359884"/>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7" name="TextBox 16">
            <a:extLst>
              <a:ext uri="{FF2B5EF4-FFF2-40B4-BE49-F238E27FC236}">
                <a16:creationId xmlns:a16="http://schemas.microsoft.com/office/drawing/2014/main" id="{01F8DCA1-0A1C-4589-A114-F7260B8D3605}"/>
              </a:ext>
            </a:extLst>
          </p:cNvPr>
          <p:cNvSpPr txBox="1"/>
          <p:nvPr/>
        </p:nvSpPr>
        <p:spPr>
          <a:xfrm>
            <a:off x="5428789" y="2092824"/>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18" name="Rectangle 17">
            <a:extLst>
              <a:ext uri="{FF2B5EF4-FFF2-40B4-BE49-F238E27FC236}">
                <a16:creationId xmlns:a16="http://schemas.microsoft.com/office/drawing/2014/main" id="{91ADEC72-9D40-40A7-9F63-13F01E33DF64}"/>
              </a:ext>
            </a:extLst>
          </p:cNvPr>
          <p:cNvSpPr/>
          <p:nvPr/>
        </p:nvSpPr>
        <p:spPr>
          <a:xfrm>
            <a:off x="4876800" y="4174224"/>
            <a:ext cx="6051146" cy="1121557"/>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9" name="TextBox 18">
            <a:extLst>
              <a:ext uri="{FF2B5EF4-FFF2-40B4-BE49-F238E27FC236}">
                <a16:creationId xmlns:a16="http://schemas.microsoft.com/office/drawing/2014/main" id="{8C0223B9-0C0B-4D03-835C-BB276F2AFE6A}"/>
              </a:ext>
            </a:extLst>
          </p:cNvPr>
          <p:cNvSpPr txBox="1"/>
          <p:nvPr/>
        </p:nvSpPr>
        <p:spPr>
          <a:xfrm>
            <a:off x="4867145" y="4186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4</a:t>
            </a:r>
          </a:p>
        </p:txBody>
      </p:sp>
      <p:sp>
        <p:nvSpPr>
          <p:cNvPr id="21" name="Rectangle 20">
            <a:extLst>
              <a:ext uri="{FF2B5EF4-FFF2-40B4-BE49-F238E27FC236}">
                <a16:creationId xmlns:a16="http://schemas.microsoft.com/office/drawing/2014/main" id="{59BC122F-56A4-4744-ACD8-1FA161AF9637}"/>
              </a:ext>
            </a:extLst>
          </p:cNvPr>
          <p:cNvSpPr/>
          <p:nvPr/>
        </p:nvSpPr>
        <p:spPr>
          <a:xfrm>
            <a:off x="2828242" y="1734605"/>
            <a:ext cx="8120099" cy="3561176"/>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2" name="TextBox 21">
            <a:extLst>
              <a:ext uri="{FF2B5EF4-FFF2-40B4-BE49-F238E27FC236}">
                <a16:creationId xmlns:a16="http://schemas.microsoft.com/office/drawing/2014/main" id="{F261C6AE-C9E6-4EA3-9806-760F4DF13F16}"/>
              </a:ext>
            </a:extLst>
          </p:cNvPr>
          <p:cNvSpPr txBox="1"/>
          <p:nvPr/>
        </p:nvSpPr>
        <p:spPr>
          <a:xfrm>
            <a:off x="2892315" y="1808706"/>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5</a:t>
            </a:r>
          </a:p>
        </p:txBody>
      </p:sp>
      <p:sp>
        <p:nvSpPr>
          <p:cNvPr id="23" name="Rectangle 22">
            <a:extLst>
              <a:ext uri="{FF2B5EF4-FFF2-40B4-BE49-F238E27FC236}">
                <a16:creationId xmlns:a16="http://schemas.microsoft.com/office/drawing/2014/main" id="{1481159C-E664-4223-BE03-5DA2A61AF604}"/>
              </a:ext>
            </a:extLst>
          </p:cNvPr>
          <p:cNvSpPr/>
          <p:nvPr/>
        </p:nvSpPr>
        <p:spPr>
          <a:xfrm>
            <a:off x="2828242" y="5373263"/>
            <a:ext cx="2600547" cy="1298191"/>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4" name="TextBox 23">
            <a:extLst>
              <a:ext uri="{FF2B5EF4-FFF2-40B4-BE49-F238E27FC236}">
                <a16:creationId xmlns:a16="http://schemas.microsoft.com/office/drawing/2014/main" id="{65080DA3-54A4-41FB-B39B-9A2782630F40}"/>
              </a:ext>
            </a:extLst>
          </p:cNvPr>
          <p:cNvSpPr txBox="1"/>
          <p:nvPr/>
        </p:nvSpPr>
        <p:spPr>
          <a:xfrm>
            <a:off x="2819400" y="5329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6</a:t>
            </a:r>
          </a:p>
        </p:txBody>
      </p:sp>
      <p:sp>
        <p:nvSpPr>
          <p:cNvPr id="33" name="TextBox 32">
            <a:extLst>
              <a:ext uri="{FF2B5EF4-FFF2-40B4-BE49-F238E27FC236}">
                <a16:creationId xmlns:a16="http://schemas.microsoft.com/office/drawing/2014/main" id="{09C0E520-A9B3-4997-A27D-0B17F6B00BB8}"/>
              </a:ext>
            </a:extLst>
          </p:cNvPr>
          <p:cNvSpPr txBox="1"/>
          <p:nvPr/>
        </p:nvSpPr>
        <p:spPr>
          <a:xfrm>
            <a:off x="4876800" y="1736858"/>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34" name="Right Arrow 32">
            <a:extLst>
              <a:ext uri="{FF2B5EF4-FFF2-40B4-BE49-F238E27FC236}">
                <a16:creationId xmlns:a16="http://schemas.microsoft.com/office/drawing/2014/main" id="{0F51054F-0789-402B-A5ED-4665F356CAFE}"/>
              </a:ext>
            </a:extLst>
          </p:cNvPr>
          <p:cNvSpPr/>
          <p:nvPr/>
        </p:nvSpPr>
        <p:spPr>
          <a:xfrm rot="10800000">
            <a:off x="10997428" y="1869282"/>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35" name="Right Arrow 30">
            <a:extLst>
              <a:ext uri="{FF2B5EF4-FFF2-40B4-BE49-F238E27FC236}">
                <a16:creationId xmlns:a16="http://schemas.microsoft.com/office/drawing/2014/main" id="{E82C582F-9E37-4CA1-87E3-276BF1DE4A34}"/>
              </a:ext>
            </a:extLst>
          </p:cNvPr>
          <p:cNvSpPr/>
          <p:nvPr/>
        </p:nvSpPr>
        <p:spPr>
          <a:xfrm rot="10800000">
            <a:off x="655636" y="1233889"/>
            <a:ext cx="10645900" cy="360040"/>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08135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p:bldP spid="12" grpId="0"/>
      <p:bldP spid="14" grpId="0"/>
      <p:bldP spid="15" grpId="0"/>
      <p:bldP spid="16" grpId="0" animBg="1"/>
      <p:bldP spid="18" grpId="0" animBg="1"/>
      <p:bldP spid="19" grpId="0"/>
      <p:bldP spid="21" grpId="0" animBg="1"/>
      <p:bldP spid="22" grpId="0"/>
      <p:bldP spid="23" grpId="0" animBg="1"/>
      <p:bldP spid="24" grpId="0"/>
      <p:bldP spid="33" grpId="0"/>
      <p:bldP spid="3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Data flow between the operators and statistical data of each operator</a:t>
            </a:r>
          </a:p>
        </p:txBody>
      </p:sp>
      <p:pic>
        <p:nvPicPr>
          <p:cNvPr id="4" name="Picture 3">
            <a:extLst>
              <a:ext uri="{FF2B5EF4-FFF2-40B4-BE49-F238E27FC236}">
                <a16:creationId xmlns:a16="http://schemas.microsoft.com/office/drawing/2014/main" id="{67624C2C-33CD-4095-A586-2D4F4782AAFE}"/>
              </a:ext>
            </a:extLst>
          </p:cNvPr>
          <p:cNvPicPr>
            <a:picLocks noChangeAspect="1"/>
          </p:cNvPicPr>
          <p:nvPr/>
        </p:nvPicPr>
        <p:blipFill rotWithShape="1">
          <a:blip r:embed="rId3"/>
          <a:srcRect l="18430" t="894"/>
          <a:stretch/>
        </p:blipFill>
        <p:spPr>
          <a:xfrm>
            <a:off x="1371600" y="1974410"/>
            <a:ext cx="3634897" cy="4563550"/>
          </a:xfrm>
          <a:prstGeom prst="rect">
            <a:avLst/>
          </a:prstGeom>
        </p:spPr>
      </p:pic>
      <p:pic>
        <p:nvPicPr>
          <p:cNvPr id="6" name="Picture 5">
            <a:extLst>
              <a:ext uri="{FF2B5EF4-FFF2-40B4-BE49-F238E27FC236}">
                <a16:creationId xmlns:a16="http://schemas.microsoft.com/office/drawing/2014/main" id="{577A602D-1619-438A-99E3-87626B8E4208}"/>
              </a:ext>
            </a:extLst>
          </p:cNvPr>
          <p:cNvPicPr>
            <a:picLocks noChangeAspect="1"/>
          </p:cNvPicPr>
          <p:nvPr/>
        </p:nvPicPr>
        <p:blipFill rotWithShape="1">
          <a:blip r:embed="rId4"/>
          <a:srcRect l="29591" t="6853" r="-934" b="-1652"/>
          <a:stretch/>
        </p:blipFill>
        <p:spPr>
          <a:xfrm>
            <a:off x="5943600" y="1872105"/>
            <a:ext cx="4552950" cy="2763052"/>
          </a:xfrm>
          <a:prstGeom prst="rect">
            <a:avLst/>
          </a:prstGeom>
        </p:spPr>
      </p:pic>
      <p:sp>
        <p:nvSpPr>
          <p:cNvPr id="27" name="Content Placeholder 3">
            <a:extLst>
              <a:ext uri="{FF2B5EF4-FFF2-40B4-BE49-F238E27FC236}">
                <a16:creationId xmlns:a16="http://schemas.microsoft.com/office/drawing/2014/main" id="{D6223C16-136D-4944-BBF1-6B612D676766}"/>
              </a:ext>
            </a:extLst>
          </p:cNvPr>
          <p:cNvSpPr txBox="1">
            <a:spLocks/>
          </p:cNvSpPr>
          <p:nvPr/>
        </p:nvSpPr>
        <p:spPr>
          <a:xfrm>
            <a:off x="1535667" y="1553725"/>
            <a:ext cx="3306762" cy="461666"/>
          </a:xfrm>
          <a:prstGeom prst="rect">
            <a:avLst/>
          </a:prstGeom>
        </p:spPr>
        <p:txBody>
          <a:bodyPr vert="horz" lIns="0" tIns="0" rIns="0" bIns="0" rtlCol="0">
            <a:normAutofit fontScale="77500" lnSpcReduction="2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buNone/>
            </a:pPr>
            <a:r>
              <a:rPr lang="en-US" dirty="0"/>
              <a:t>Statistical data for the operator</a:t>
            </a:r>
          </a:p>
        </p:txBody>
      </p:sp>
      <p:sp>
        <p:nvSpPr>
          <p:cNvPr id="28" name="Content Placeholder 3">
            <a:extLst>
              <a:ext uri="{FF2B5EF4-FFF2-40B4-BE49-F238E27FC236}">
                <a16:creationId xmlns:a16="http://schemas.microsoft.com/office/drawing/2014/main" id="{F979CF76-1DF3-4F0F-9E36-E82715E9129A}"/>
              </a:ext>
            </a:extLst>
          </p:cNvPr>
          <p:cNvSpPr txBox="1">
            <a:spLocks/>
          </p:cNvSpPr>
          <p:nvPr/>
        </p:nvSpPr>
        <p:spPr>
          <a:xfrm>
            <a:off x="6566694" y="1553725"/>
            <a:ext cx="3306762" cy="461666"/>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lnSpc>
                <a:spcPct val="80000"/>
              </a:lnSpc>
              <a:buNone/>
            </a:pPr>
            <a:r>
              <a:rPr lang="en-US" sz="1900" dirty="0"/>
              <a:t>Data flow statistics</a:t>
            </a:r>
          </a:p>
        </p:txBody>
      </p:sp>
    </p:spTree>
    <p:extLst>
      <p:ext uri="{BB962C8B-B14F-4D97-AF65-F5344CB8AC3E}">
        <p14:creationId xmlns:p14="http://schemas.microsoft.com/office/powerpoint/2010/main" val="3363990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Properties sheet</a:t>
            </a:r>
          </a:p>
        </p:txBody>
      </p:sp>
      <p:pic>
        <p:nvPicPr>
          <p:cNvPr id="5" name="Picture 4">
            <a:extLst>
              <a:ext uri="{FF2B5EF4-FFF2-40B4-BE49-F238E27FC236}">
                <a16:creationId xmlns:a16="http://schemas.microsoft.com/office/drawing/2014/main" id="{CF9DCC56-B0B2-4004-BAED-B8DAC74A6FFC}"/>
              </a:ext>
            </a:extLst>
          </p:cNvPr>
          <p:cNvPicPr>
            <a:picLocks noChangeAspect="1"/>
          </p:cNvPicPr>
          <p:nvPr/>
        </p:nvPicPr>
        <p:blipFill>
          <a:blip r:embed="rId3"/>
          <a:stretch>
            <a:fillRect/>
          </a:stretch>
        </p:blipFill>
        <p:spPr>
          <a:xfrm>
            <a:off x="655637" y="1447800"/>
            <a:ext cx="6638925" cy="4822029"/>
          </a:xfrm>
          <a:prstGeom prst="rect">
            <a:avLst/>
          </a:prstGeom>
        </p:spPr>
      </p:pic>
      <p:sp>
        <p:nvSpPr>
          <p:cNvPr id="8" name="Rectangle 7">
            <a:extLst>
              <a:ext uri="{FF2B5EF4-FFF2-40B4-BE49-F238E27FC236}">
                <a16:creationId xmlns:a16="http://schemas.microsoft.com/office/drawing/2014/main" id="{D4E53F4A-1426-4587-A994-2539692BA5CD}"/>
              </a:ext>
            </a:extLst>
          </p:cNvPr>
          <p:cNvSpPr/>
          <p:nvPr/>
        </p:nvSpPr>
        <p:spPr>
          <a:xfrm>
            <a:off x="7620000" y="1447800"/>
            <a:ext cx="4038600" cy="5262979"/>
          </a:xfrm>
          <a:prstGeom prst="rect">
            <a:avLst/>
          </a:prstGeom>
        </p:spPr>
        <p:txBody>
          <a:bodyPr wrap="square">
            <a:spAutoFit/>
          </a:bodyPr>
          <a:lstStyle/>
          <a:p>
            <a:r>
              <a:rPr lang="en-US" sz="2400" dirty="0"/>
              <a:t>Management Studio Properties sheet includes even more detailed information about each operator and about the overall query plan. </a:t>
            </a:r>
          </a:p>
          <a:p>
            <a:endParaRPr lang="en-US" sz="2400" dirty="0"/>
          </a:p>
          <a:p>
            <a:r>
              <a:rPr lang="en-US" sz="2400" dirty="0"/>
              <a:t>Use the most recent version of Management Studio as every new version display more detailed information about the Query Plan when examining the plan in graphical mode.</a:t>
            </a:r>
          </a:p>
        </p:txBody>
      </p:sp>
    </p:spTree>
    <p:extLst>
      <p:ext uri="{BB962C8B-B14F-4D97-AF65-F5344CB8AC3E}">
        <p14:creationId xmlns:p14="http://schemas.microsoft.com/office/powerpoint/2010/main" val="593398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Live Query Statistics</a:t>
            </a:r>
          </a:p>
        </p:txBody>
      </p:sp>
      <p:sp>
        <p:nvSpPr>
          <p:cNvPr id="8" name="Rectangle 7">
            <a:extLst>
              <a:ext uri="{FF2B5EF4-FFF2-40B4-BE49-F238E27FC236}">
                <a16:creationId xmlns:a16="http://schemas.microsoft.com/office/drawing/2014/main" id="{D4E53F4A-1426-4587-A994-2539692BA5CD}"/>
              </a:ext>
            </a:extLst>
          </p:cNvPr>
          <p:cNvSpPr/>
          <p:nvPr/>
        </p:nvSpPr>
        <p:spPr>
          <a:xfrm>
            <a:off x="533400" y="1447800"/>
            <a:ext cx="3733800" cy="4801314"/>
          </a:xfrm>
          <a:prstGeom prst="rect">
            <a:avLst/>
          </a:prstGeom>
        </p:spPr>
        <p:txBody>
          <a:bodyPr wrap="square">
            <a:spAutoFit/>
          </a:bodyPr>
          <a:lstStyle/>
          <a:p>
            <a:r>
              <a:rPr lang="en-US" dirty="0"/>
              <a:t>View CPU/memory usage, execution time, and query progress</a:t>
            </a:r>
          </a:p>
          <a:p>
            <a:endParaRPr lang="en-US" dirty="0"/>
          </a:p>
          <a:p>
            <a:r>
              <a:rPr lang="en-US" dirty="0"/>
              <a:t>Allows drill down to live operator-level statistics, such as:</a:t>
            </a:r>
          </a:p>
          <a:p>
            <a:pPr marL="285750" indent="-285750">
              <a:buFont typeface="Arial" panose="020B0604020202020204" pitchFamily="34" charset="0"/>
              <a:buChar char="•"/>
            </a:pPr>
            <a:r>
              <a:rPr lang="en-US" dirty="0"/>
              <a:t>Number of generated rows</a:t>
            </a:r>
          </a:p>
          <a:p>
            <a:pPr marL="285750" indent="-285750">
              <a:buFont typeface="Arial" panose="020B0604020202020204" pitchFamily="34" charset="0"/>
              <a:buChar char="•"/>
            </a:pPr>
            <a:r>
              <a:rPr lang="en-US" dirty="0"/>
              <a:t>Elapsed time</a:t>
            </a:r>
          </a:p>
          <a:p>
            <a:pPr marL="285750" indent="-285750">
              <a:buFont typeface="Arial" panose="020B0604020202020204" pitchFamily="34" charset="0"/>
              <a:buChar char="•"/>
            </a:pPr>
            <a:r>
              <a:rPr lang="en-US" dirty="0"/>
              <a:t>Operator progress </a:t>
            </a:r>
          </a:p>
          <a:p>
            <a:pPr marL="285750" indent="-285750">
              <a:buFont typeface="Arial" panose="020B0604020202020204" pitchFamily="34" charset="0"/>
              <a:buChar char="•"/>
            </a:pPr>
            <a:r>
              <a:rPr lang="en-US" dirty="0"/>
              <a:t>Live warnings</a:t>
            </a:r>
          </a:p>
          <a:p>
            <a:pPr marL="285750" indent="-285750">
              <a:buFont typeface="Arial" panose="020B0604020202020204" pitchFamily="34" charset="0"/>
              <a:buChar char="•"/>
            </a:pPr>
            <a:endParaRPr lang="en-US" dirty="0"/>
          </a:p>
          <a:p>
            <a:r>
              <a:rPr lang="en-US" dirty="0"/>
              <a:t>This feature is primarily intended for troubleshooting purposes. </a:t>
            </a:r>
          </a:p>
          <a:p>
            <a:endParaRPr lang="en-US" dirty="0"/>
          </a:p>
          <a:p>
            <a:r>
              <a:rPr lang="en-US" dirty="0"/>
              <a:t>Using this feature can moderately slow the overall query performance.</a:t>
            </a:r>
          </a:p>
          <a:p>
            <a:pPr marL="285750" indent="-285750">
              <a:buFont typeface="Arial" panose="020B0604020202020204" pitchFamily="34" charset="0"/>
              <a:buChar char="•"/>
            </a:pPr>
            <a:endParaRPr lang="en-US" dirty="0"/>
          </a:p>
        </p:txBody>
      </p:sp>
      <p:pic>
        <p:nvPicPr>
          <p:cNvPr id="1026" name="Picture 2" descr="Live Query Stats button in showplan">
            <a:extLst>
              <a:ext uri="{FF2B5EF4-FFF2-40B4-BE49-F238E27FC236}">
                <a16:creationId xmlns:a16="http://schemas.microsoft.com/office/drawing/2014/main" id="{7BF95E3C-D2EE-4E98-95D1-748526FEC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905000"/>
            <a:ext cx="7340856" cy="3525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0975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ecution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Notable operators</a:t>
            </a:r>
          </a:p>
        </p:txBody>
      </p:sp>
      <p:grpSp>
        <p:nvGrpSpPr>
          <p:cNvPr id="5" name="Group 4">
            <a:extLst>
              <a:ext uri="{FF2B5EF4-FFF2-40B4-BE49-F238E27FC236}">
                <a16:creationId xmlns:a16="http://schemas.microsoft.com/office/drawing/2014/main" id="{F0F7112D-E24F-4DBA-868D-469D58FB6FF7}"/>
              </a:ext>
            </a:extLst>
          </p:cNvPr>
          <p:cNvGrpSpPr/>
          <p:nvPr/>
        </p:nvGrpSpPr>
        <p:grpSpPr>
          <a:xfrm>
            <a:off x="679637" y="3266038"/>
            <a:ext cx="4887774" cy="495951"/>
            <a:chOff x="729006" y="3464155"/>
            <a:chExt cx="4887774" cy="495951"/>
          </a:xfrm>
        </p:grpSpPr>
        <p:pic>
          <p:nvPicPr>
            <p:cNvPr id="1028" name="Picture 4" descr="Clustered index scan operator icon">
              <a:extLst>
                <a:ext uri="{FF2B5EF4-FFF2-40B4-BE49-F238E27FC236}">
                  <a16:creationId xmlns:a16="http://schemas.microsoft.com/office/drawing/2014/main" id="{11D2FFA8-8159-4269-AABB-26626E73E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006" y="346415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3">
              <a:extLst>
                <a:ext uri="{FF2B5EF4-FFF2-40B4-BE49-F238E27FC236}">
                  <a16:creationId xmlns:a16="http://schemas.microsoft.com/office/drawing/2014/main" id="{5B7DF837-0C24-42B8-928B-750588EBDEC9}"/>
                </a:ext>
              </a:extLst>
            </p:cNvPr>
            <p:cNvSpPr txBox="1">
              <a:spLocks/>
            </p:cNvSpPr>
            <p:nvPr/>
          </p:nvSpPr>
          <p:spPr>
            <a:xfrm>
              <a:off x="1455832" y="346415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can</a:t>
              </a:r>
            </a:p>
          </p:txBody>
        </p:sp>
      </p:grpSp>
      <p:grpSp>
        <p:nvGrpSpPr>
          <p:cNvPr id="6" name="Group 5">
            <a:extLst>
              <a:ext uri="{FF2B5EF4-FFF2-40B4-BE49-F238E27FC236}">
                <a16:creationId xmlns:a16="http://schemas.microsoft.com/office/drawing/2014/main" id="{CB3B7B55-5EE0-4DF8-A73E-B16A3A8389DF}"/>
              </a:ext>
            </a:extLst>
          </p:cNvPr>
          <p:cNvGrpSpPr/>
          <p:nvPr/>
        </p:nvGrpSpPr>
        <p:grpSpPr>
          <a:xfrm>
            <a:off x="679637" y="3974081"/>
            <a:ext cx="4887774" cy="495951"/>
            <a:chOff x="729006" y="4122998"/>
            <a:chExt cx="4887774" cy="495951"/>
          </a:xfrm>
        </p:grpSpPr>
        <p:pic>
          <p:nvPicPr>
            <p:cNvPr id="1030" name="Picture 6" descr="Clustered index seek operator icon">
              <a:extLst>
                <a:ext uri="{FF2B5EF4-FFF2-40B4-BE49-F238E27FC236}">
                  <a16:creationId xmlns:a16="http://schemas.microsoft.com/office/drawing/2014/main" id="{04594F46-8518-4FF4-B53B-6C810780F9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006" y="4122998"/>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3">
              <a:extLst>
                <a:ext uri="{FF2B5EF4-FFF2-40B4-BE49-F238E27FC236}">
                  <a16:creationId xmlns:a16="http://schemas.microsoft.com/office/drawing/2014/main" id="{AC33A00B-92E8-4F4A-A59B-2167D150465F}"/>
                </a:ext>
              </a:extLst>
            </p:cNvPr>
            <p:cNvSpPr txBox="1">
              <a:spLocks/>
            </p:cNvSpPr>
            <p:nvPr/>
          </p:nvSpPr>
          <p:spPr>
            <a:xfrm>
              <a:off x="1455832" y="4122998"/>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eek</a:t>
              </a:r>
            </a:p>
          </p:txBody>
        </p:sp>
      </p:grpSp>
      <p:grpSp>
        <p:nvGrpSpPr>
          <p:cNvPr id="19" name="Group 18">
            <a:extLst>
              <a:ext uri="{FF2B5EF4-FFF2-40B4-BE49-F238E27FC236}">
                <a16:creationId xmlns:a16="http://schemas.microsoft.com/office/drawing/2014/main" id="{1EDC6FEC-D99A-4BA5-AB1F-9D39AEA57B40}"/>
              </a:ext>
            </a:extLst>
          </p:cNvPr>
          <p:cNvGrpSpPr/>
          <p:nvPr/>
        </p:nvGrpSpPr>
        <p:grpSpPr>
          <a:xfrm>
            <a:off x="6654868" y="2584457"/>
            <a:ext cx="4889516" cy="495951"/>
            <a:chOff x="6616684" y="2799875"/>
            <a:chExt cx="4889516" cy="495951"/>
          </a:xfrm>
        </p:grpSpPr>
        <p:pic>
          <p:nvPicPr>
            <p:cNvPr id="1034" name="Picture 10" descr="Nonclustered index scan operator icon">
              <a:extLst>
                <a:ext uri="{FF2B5EF4-FFF2-40B4-BE49-F238E27FC236}">
                  <a16:creationId xmlns:a16="http://schemas.microsoft.com/office/drawing/2014/main" id="{3E5C0A35-5AF5-4C72-B87A-845C0D7820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6684" y="279987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F6B21E68-22ED-42CE-A607-124E6FC9E037}"/>
                </a:ext>
              </a:extLst>
            </p:cNvPr>
            <p:cNvSpPr txBox="1">
              <a:spLocks/>
            </p:cNvSpPr>
            <p:nvPr/>
          </p:nvSpPr>
          <p:spPr>
            <a:xfrm>
              <a:off x="7345252" y="279987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can</a:t>
              </a:r>
            </a:p>
          </p:txBody>
        </p:sp>
      </p:grpSp>
      <p:grpSp>
        <p:nvGrpSpPr>
          <p:cNvPr id="21" name="Group 20">
            <a:extLst>
              <a:ext uri="{FF2B5EF4-FFF2-40B4-BE49-F238E27FC236}">
                <a16:creationId xmlns:a16="http://schemas.microsoft.com/office/drawing/2014/main" id="{6CF57884-447D-4649-989B-ECF9230514EA}"/>
              </a:ext>
            </a:extLst>
          </p:cNvPr>
          <p:cNvGrpSpPr/>
          <p:nvPr/>
        </p:nvGrpSpPr>
        <p:grpSpPr>
          <a:xfrm>
            <a:off x="6616684" y="3254148"/>
            <a:ext cx="4889516" cy="495951"/>
            <a:chOff x="6616684" y="3458059"/>
            <a:chExt cx="4889516" cy="495951"/>
          </a:xfrm>
        </p:grpSpPr>
        <p:pic>
          <p:nvPicPr>
            <p:cNvPr id="1036" name="Picture 12" descr="Nonclustered index seek operator icon">
              <a:extLst>
                <a:ext uri="{FF2B5EF4-FFF2-40B4-BE49-F238E27FC236}">
                  <a16:creationId xmlns:a16="http://schemas.microsoft.com/office/drawing/2014/main" id="{A33C7D66-DC83-4F8A-A617-968722957A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684" y="345805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3">
              <a:extLst>
                <a:ext uri="{FF2B5EF4-FFF2-40B4-BE49-F238E27FC236}">
                  <a16:creationId xmlns:a16="http://schemas.microsoft.com/office/drawing/2014/main" id="{EB1BF4A3-52C8-480D-8FED-F6FF4CAC78E8}"/>
                </a:ext>
              </a:extLst>
            </p:cNvPr>
            <p:cNvSpPr txBox="1">
              <a:spLocks/>
            </p:cNvSpPr>
            <p:nvPr/>
          </p:nvSpPr>
          <p:spPr>
            <a:xfrm>
              <a:off x="7345252" y="345805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eek</a:t>
              </a:r>
            </a:p>
          </p:txBody>
        </p:sp>
      </p:grpSp>
      <p:grpSp>
        <p:nvGrpSpPr>
          <p:cNvPr id="8" name="Group 7">
            <a:extLst>
              <a:ext uri="{FF2B5EF4-FFF2-40B4-BE49-F238E27FC236}">
                <a16:creationId xmlns:a16="http://schemas.microsoft.com/office/drawing/2014/main" id="{6AF95612-581F-407E-9087-9BB8A0426C40}"/>
              </a:ext>
            </a:extLst>
          </p:cNvPr>
          <p:cNvGrpSpPr/>
          <p:nvPr/>
        </p:nvGrpSpPr>
        <p:grpSpPr>
          <a:xfrm>
            <a:off x="679637" y="5390167"/>
            <a:ext cx="4857497" cy="495951"/>
            <a:chOff x="680026" y="5434214"/>
            <a:chExt cx="4857497" cy="495951"/>
          </a:xfrm>
        </p:grpSpPr>
        <p:pic>
          <p:nvPicPr>
            <p:cNvPr id="1040" name="Picture 16" descr="Bookmark lookup operator icon">
              <a:extLst>
                <a:ext uri="{FF2B5EF4-FFF2-40B4-BE49-F238E27FC236}">
                  <a16:creationId xmlns:a16="http://schemas.microsoft.com/office/drawing/2014/main" id="{55E7F75A-ED40-422A-977C-74663B0616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26" y="5434214"/>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3">
              <a:extLst>
                <a:ext uri="{FF2B5EF4-FFF2-40B4-BE49-F238E27FC236}">
                  <a16:creationId xmlns:a16="http://schemas.microsoft.com/office/drawing/2014/main" id="{7FFB5D7E-C651-4E65-A76B-C48470F09858}"/>
                </a:ext>
              </a:extLst>
            </p:cNvPr>
            <p:cNvSpPr txBox="1">
              <a:spLocks/>
            </p:cNvSpPr>
            <p:nvPr/>
          </p:nvSpPr>
          <p:spPr>
            <a:xfrm>
              <a:off x="1376575" y="543421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Key lookup</a:t>
              </a:r>
            </a:p>
          </p:txBody>
        </p:sp>
      </p:grpSp>
      <p:grpSp>
        <p:nvGrpSpPr>
          <p:cNvPr id="7" name="Group 6">
            <a:extLst>
              <a:ext uri="{FF2B5EF4-FFF2-40B4-BE49-F238E27FC236}">
                <a16:creationId xmlns:a16="http://schemas.microsoft.com/office/drawing/2014/main" id="{8ED64774-DC35-43D4-8EFB-E164F814D55D}"/>
              </a:ext>
            </a:extLst>
          </p:cNvPr>
          <p:cNvGrpSpPr/>
          <p:nvPr/>
        </p:nvGrpSpPr>
        <p:grpSpPr>
          <a:xfrm>
            <a:off x="679637" y="4682124"/>
            <a:ext cx="4857497" cy="495951"/>
            <a:chOff x="729006" y="4768999"/>
            <a:chExt cx="4857497" cy="495951"/>
          </a:xfrm>
        </p:grpSpPr>
        <p:pic>
          <p:nvPicPr>
            <p:cNvPr id="1038" name="Picture 14" descr="RID lookup operator icon">
              <a:extLst>
                <a:ext uri="{FF2B5EF4-FFF2-40B4-BE49-F238E27FC236}">
                  <a16:creationId xmlns:a16="http://schemas.microsoft.com/office/drawing/2014/main" id="{5C5E6286-5839-4D81-940B-CB68A66B65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006" y="476899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3">
              <a:extLst>
                <a:ext uri="{FF2B5EF4-FFF2-40B4-BE49-F238E27FC236}">
                  <a16:creationId xmlns:a16="http://schemas.microsoft.com/office/drawing/2014/main" id="{B04BB3DC-29AA-456A-AB33-D415DFC9D159}"/>
                </a:ext>
              </a:extLst>
            </p:cNvPr>
            <p:cNvSpPr txBox="1">
              <a:spLocks/>
            </p:cNvSpPr>
            <p:nvPr/>
          </p:nvSpPr>
          <p:spPr>
            <a:xfrm>
              <a:off x="1425555"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RID lookup</a:t>
              </a:r>
            </a:p>
          </p:txBody>
        </p:sp>
      </p:grpSp>
      <p:grpSp>
        <p:nvGrpSpPr>
          <p:cNvPr id="9" name="Group 8">
            <a:extLst>
              <a:ext uri="{FF2B5EF4-FFF2-40B4-BE49-F238E27FC236}">
                <a16:creationId xmlns:a16="http://schemas.microsoft.com/office/drawing/2014/main" id="{267C3E52-AD07-43A7-982B-271DF45D09BA}"/>
              </a:ext>
            </a:extLst>
          </p:cNvPr>
          <p:cNvGrpSpPr/>
          <p:nvPr/>
        </p:nvGrpSpPr>
        <p:grpSpPr>
          <a:xfrm>
            <a:off x="679637" y="6098209"/>
            <a:ext cx="4937143" cy="594688"/>
            <a:chOff x="679637" y="6098209"/>
            <a:chExt cx="4937143" cy="594688"/>
          </a:xfrm>
        </p:grpSpPr>
        <p:pic>
          <p:nvPicPr>
            <p:cNvPr id="1042" name="Picture 18" descr="Columnstore Index Scan">
              <a:extLst>
                <a:ext uri="{FF2B5EF4-FFF2-40B4-BE49-F238E27FC236}">
                  <a16:creationId xmlns:a16="http://schemas.microsoft.com/office/drawing/2014/main" id="{A0B91962-D37F-450E-83EC-BEE4BF8D06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9637" y="6098209"/>
              <a:ext cx="594688" cy="594688"/>
            </a:xfrm>
            <a:prstGeom prst="rect">
              <a:avLst/>
            </a:prstGeom>
            <a:noFill/>
            <a:extLst>
              <a:ext uri="{909E8E84-426E-40DD-AFC4-6F175D3DCCD1}">
                <a14:hiddenFill xmlns:a14="http://schemas.microsoft.com/office/drawing/2010/main">
                  <a:solidFill>
                    <a:srgbClr val="FFFFFF"/>
                  </a:solidFill>
                </a14:hiddenFill>
              </a:ext>
            </a:extLst>
          </p:spPr>
        </p:pic>
        <p:sp>
          <p:nvSpPr>
            <p:cNvPr id="20" name="Content Placeholder 3">
              <a:extLst>
                <a:ext uri="{FF2B5EF4-FFF2-40B4-BE49-F238E27FC236}">
                  <a16:creationId xmlns:a16="http://schemas.microsoft.com/office/drawing/2014/main" id="{C321B790-A42B-4615-8886-FB1C9171170D}"/>
                </a:ext>
              </a:extLst>
            </p:cNvPr>
            <p:cNvSpPr txBox="1">
              <a:spLocks/>
            </p:cNvSpPr>
            <p:nvPr/>
          </p:nvSpPr>
          <p:spPr>
            <a:xfrm>
              <a:off x="1455832" y="609820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ColumnStore Index Scan</a:t>
              </a:r>
            </a:p>
          </p:txBody>
        </p:sp>
      </p:grpSp>
      <p:grpSp>
        <p:nvGrpSpPr>
          <p:cNvPr id="23" name="Group 22">
            <a:extLst>
              <a:ext uri="{FF2B5EF4-FFF2-40B4-BE49-F238E27FC236}">
                <a16:creationId xmlns:a16="http://schemas.microsoft.com/office/drawing/2014/main" id="{3F9E4E81-2B8D-4177-8648-201099D80467}"/>
              </a:ext>
            </a:extLst>
          </p:cNvPr>
          <p:cNvGrpSpPr/>
          <p:nvPr/>
        </p:nvGrpSpPr>
        <p:grpSpPr>
          <a:xfrm>
            <a:off x="6616684" y="3923839"/>
            <a:ext cx="4889516" cy="559989"/>
            <a:chOff x="6616684" y="4065033"/>
            <a:chExt cx="4889516" cy="559989"/>
          </a:xfrm>
        </p:grpSpPr>
        <p:pic>
          <p:nvPicPr>
            <p:cNvPr id="1044" name="Picture 20" descr="Sort operator icon">
              <a:extLst>
                <a:ext uri="{FF2B5EF4-FFF2-40B4-BE49-F238E27FC236}">
                  <a16:creationId xmlns:a16="http://schemas.microsoft.com/office/drawing/2014/main" id="{2F608A90-F0A6-48F7-9B94-BDEB28F2AD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16684" y="4065033"/>
              <a:ext cx="559989" cy="559989"/>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3">
              <a:extLst>
                <a:ext uri="{FF2B5EF4-FFF2-40B4-BE49-F238E27FC236}">
                  <a16:creationId xmlns:a16="http://schemas.microsoft.com/office/drawing/2014/main" id="{64A2DB2D-2637-4A54-9C7F-F159894633E7}"/>
                </a:ext>
              </a:extLst>
            </p:cNvPr>
            <p:cNvSpPr txBox="1">
              <a:spLocks/>
            </p:cNvSpPr>
            <p:nvPr/>
          </p:nvSpPr>
          <p:spPr>
            <a:xfrm>
              <a:off x="7345252" y="4065033"/>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ort</a:t>
              </a:r>
            </a:p>
          </p:txBody>
        </p:sp>
      </p:grpSp>
      <p:sp>
        <p:nvSpPr>
          <p:cNvPr id="25" name="Content Placeholder 3">
            <a:extLst>
              <a:ext uri="{FF2B5EF4-FFF2-40B4-BE49-F238E27FC236}">
                <a16:creationId xmlns:a16="http://schemas.microsoft.com/office/drawing/2014/main" id="{A0CA769B-4521-40FE-9E23-E3CEDE217E0A}"/>
              </a:ext>
            </a:extLst>
          </p:cNvPr>
          <p:cNvSpPr txBox="1">
            <a:spLocks/>
          </p:cNvSpPr>
          <p:nvPr/>
        </p:nvSpPr>
        <p:spPr>
          <a:xfrm>
            <a:off x="655638" y="1408114"/>
            <a:ext cx="10880726" cy="85416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Operators describe how SQL Server executes a query. The query optimizer uses operators to build a query plan to create the result specified in the query.</a:t>
            </a:r>
          </a:p>
        </p:txBody>
      </p:sp>
      <p:grpSp>
        <p:nvGrpSpPr>
          <p:cNvPr id="24" name="Group 23">
            <a:extLst>
              <a:ext uri="{FF2B5EF4-FFF2-40B4-BE49-F238E27FC236}">
                <a16:creationId xmlns:a16="http://schemas.microsoft.com/office/drawing/2014/main" id="{88485792-F2D9-461E-AA27-50A159161417}"/>
              </a:ext>
            </a:extLst>
          </p:cNvPr>
          <p:cNvGrpSpPr/>
          <p:nvPr/>
        </p:nvGrpSpPr>
        <p:grpSpPr>
          <a:xfrm>
            <a:off x="6616684" y="4657568"/>
            <a:ext cx="4889516" cy="533168"/>
            <a:chOff x="6616684" y="4768999"/>
            <a:chExt cx="4889516" cy="533168"/>
          </a:xfrm>
        </p:grpSpPr>
        <p:pic>
          <p:nvPicPr>
            <p:cNvPr id="28" name="Picture 27">
              <a:extLst>
                <a:ext uri="{FF2B5EF4-FFF2-40B4-BE49-F238E27FC236}">
                  <a16:creationId xmlns:a16="http://schemas.microsoft.com/office/drawing/2014/main" id="{E3E71F0F-1328-4B9B-B339-5F62F7307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16684" y="4768999"/>
              <a:ext cx="533168" cy="533168"/>
            </a:xfrm>
            <a:prstGeom prst="rect">
              <a:avLst/>
            </a:prstGeom>
          </p:spPr>
        </p:pic>
        <p:sp>
          <p:nvSpPr>
            <p:cNvPr id="31" name="Content Placeholder 3">
              <a:extLst>
                <a:ext uri="{FF2B5EF4-FFF2-40B4-BE49-F238E27FC236}">
                  <a16:creationId xmlns:a16="http://schemas.microsoft.com/office/drawing/2014/main" id="{97CF827F-3129-4966-941B-B55A2806656C}"/>
                </a:ext>
              </a:extLst>
            </p:cNvPr>
            <p:cNvSpPr txBox="1">
              <a:spLocks/>
            </p:cNvSpPr>
            <p:nvPr/>
          </p:nvSpPr>
          <p:spPr>
            <a:xfrm>
              <a:off x="7345252"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Table spool</a:t>
              </a:r>
            </a:p>
          </p:txBody>
        </p:sp>
      </p:grpSp>
      <p:grpSp>
        <p:nvGrpSpPr>
          <p:cNvPr id="26" name="Group 25">
            <a:extLst>
              <a:ext uri="{FF2B5EF4-FFF2-40B4-BE49-F238E27FC236}">
                <a16:creationId xmlns:a16="http://schemas.microsoft.com/office/drawing/2014/main" id="{D6472D49-011D-4162-8EEB-A9AC9FDD76A7}"/>
              </a:ext>
            </a:extLst>
          </p:cNvPr>
          <p:cNvGrpSpPr/>
          <p:nvPr/>
        </p:nvGrpSpPr>
        <p:grpSpPr>
          <a:xfrm>
            <a:off x="6616684" y="5364476"/>
            <a:ext cx="4889516" cy="533400"/>
            <a:chOff x="6616684" y="5446144"/>
            <a:chExt cx="4889516" cy="533400"/>
          </a:xfrm>
        </p:grpSpPr>
        <p:pic>
          <p:nvPicPr>
            <p:cNvPr id="27" name="Picture 2" descr="Table spool operator icon">
              <a:extLst>
                <a:ext uri="{FF2B5EF4-FFF2-40B4-BE49-F238E27FC236}">
                  <a16:creationId xmlns:a16="http://schemas.microsoft.com/office/drawing/2014/main" id="{40BDF551-8402-419C-AED0-07EA668E260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6684" y="5446144"/>
              <a:ext cx="533398" cy="533400"/>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
              <a:extLst>
                <a:ext uri="{FF2B5EF4-FFF2-40B4-BE49-F238E27FC236}">
                  <a16:creationId xmlns:a16="http://schemas.microsoft.com/office/drawing/2014/main" id="{D86B479E-C635-4BC1-A62C-461B394A5888}"/>
                </a:ext>
              </a:extLst>
            </p:cNvPr>
            <p:cNvSpPr txBox="1">
              <a:spLocks/>
            </p:cNvSpPr>
            <p:nvPr/>
          </p:nvSpPr>
          <p:spPr>
            <a:xfrm>
              <a:off x="7345252" y="544614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Index spool</a:t>
              </a:r>
            </a:p>
          </p:txBody>
        </p:sp>
      </p:grpSp>
      <p:grpSp>
        <p:nvGrpSpPr>
          <p:cNvPr id="30" name="Group 29">
            <a:extLst>
              <a:ext uri="{FF2B5EF4-FFF2-40B4-BE49-F238E27FC236}">
                <a16:creationId xmlns:a16="http://schemas.microsoft.com/office/drawing/2014/main" id="{9EDF4A98-445D-4F83-9960-16985F28727D}"/>
              </a:ext>
            </a:extLst>
          </p:cNvPr>
          <p:cNvGrpSpPr/>
          <p:nvPr/>
        </p:nvGrpSpPr>
        <p:grpSpPr>
          <a:xfrm>
            <a:off x="6616684" y="6071617"/>
            <a:ext cx="4889516" cy="533400"/>
            <a:chOff x="6616684" y="6071617"/>
            <a:chExt cx="4889516" cy="533400"/>
          </a:xfrm>
        </p:grpSpPr>
        <p:pic>
          <p:nvPicPr>
            <p:cNvPr id="29" name="Picture 28">
              <a:extLst>
                <a:ext uri="{FF2B5EF4-FFF2-40B4-BE49-F238E27FC236}">
                  <a16:creationId xmlns:a16="http://schemas.microsoft.com/office/drawing/2014/main" id="{78457F7F-6403-4D74-B33C-984EBB69A75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16684" y="6071617"/>
              <a:ext cx="533400" cy="533400"/>
            </a:xfrm>
            <a:prstGeom prst="rect">
              <a:avLst/>
            </a:prstGeom>
          </p:spPr>
        </p:pic>
        <p:sp>
          <p:nvSpPr>
            <p:cNvPr id="33" name="Content Placeholder 3">
              <a:extLst>
                <a:ext uri="{FF2B5EF4-FFF2-40B4-BE49-F238E27FC236}">
                  <a16:creationId xmlns:a16="http://schemas.microsoft.com/office/drawing/2014/main" id="{0DAC354D-F668-4AD1-BB17-9233443A4DC2}"/>
                </a:ext>
              </a:extLst>
            </p:cNvPr>
            <p:cNvSpPr txBox="1">
              <a:spLocks/>
            </p:cNvSpPr>
            <p:nvPr/>
          </p:nvSpPr>
          <p:spPr>
            <a:xfrm>
              <a:off x="7345252" y="6071617"/>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ream Aggregation</a:t>
              </a:r>
            </a:p>
          </p:txBody>
        </p:sp>
      </p:grpSp>
      <p:grpSp>
        <p:nvGrpSpPr>
          <p:cNvPr id="12" name="Group 11">
            <a:extLst>
              <a:ext uri="{FF2B5EF4-FFF2-40B4-BE49-F238E27FC236}">
                <a16:creationId xmlns:a16="http://schemas.microsoft.com/office/drawing/2014/main" id="{C411CC39-74E5-4A7E-B112-4EC0D85D1F2F}"/>
              </a:ext>
            </a:extLst>
          </p:cNvPr>
          <p:cNvGrpSpPr/>
          <p:nvPr/>
        </p:nvGrpSpPr>
        <p:grpSpPr>
          <a:xfrm>
            <a:off x="679637" y="2557995"/>
            <a:ext cx="4857497" cy="495951"/>
            <a:chOff x="729006" y="2799132"/>
            <a:chExt cx="4857497" cy="495951"/>
          </a:xfrm>
        </p:grpSpPr>
        <p:pic>
          <p:nvPicPr>
            <p:cNvPr id="1032" name="Picture 8" descr="Table scan operator icon">
              <a:extLst>
                <a:ext uri="{FF2B5EF4-FFF2-40B4-BE49-F238E27FC236}">
                  <a16:creationId xmlns:a16="http://schemas.microsoft.com/office/drawing/2014/main" id="{F14E48FE-3B7E-41F9-A032-9F3CCB6F2A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9006" y="2799132"/>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36" name="Content Placeholder 3">
              <a:extLst>
                <a:ext uri="{FF2B5EF4-FFF2-40B4-BE49-F238E27FC236}">
                  <a16:creationId xmlns:a16="http://schemas.microsoft.com/office/drawing/2014/main" id="{6E8E5B06-2C01-4810-9941-2A322AE0F461}"/>
                </a:ext>
              </a:extLst>
            </p:cNvPr>
            <p:cNvSpPr txBox="1">
              <a:spLocks/>
            </p:cNvSpPr>
            <p:nvPr/>
          </p:nvSpPr>
          <p:spPr>
            <a:xfrm>
              <a:off x="1425555" y="2799132"/>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s-MX" dirty="0"/>
                <a:t>Table</a:t>
              </a:r>
              <a:r>
                <a:rPr lang="en-US" dirty="0"/>
                <a:t> scan</a:t>
              </a:r>
            </a:p>
          </p:txBody>
        </p:sp>
      </p:grpSp>
    </p:spTree>
    <p:extLst>
      <p:ext uri="{BB962C8B-B14F-4D97-AF65-F5344CB8AC3E}">
        <p14:creationId xmlns:p14="http://schemas.microsoft.com/office/powerpoint/2010/main" val="2735926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615784" y="994005"/>
            <a:ext cx="2393293" cy="1851545"/>
          </a:xfrm>
          <a:prstGeom prst="rect">
            <a:avLst/>
          </a:prstGeom>
        </p:spPr>
      </p:pic>
      <p:sp>
        <p:nvSpPr>
          <p:cNvPr id="5" name="TextBox 4"/>
          <p:cNvSpPr txBox="1"/>
          <p:nvPr/>
        </p:nvSpPr>
        <p:spPr>
          <a:xfrm>
            <a:off x="736943" y="1266001"/>
            <a:ext cx="4700783" cy="1033982"/>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Data stored in a Heap is not stored in any order and normally does not have a Primary Key.</a:t>
            </a:r>
          </a:p>
        </p:txBody>
      </p:sp>
      <p:pic>
        <p:nvPicPr>
          <p:cNvPr id="6" name="Picture 5"/>
          <p:cNvPicPr>
            <a:picLocks noChangeAspect="1"/>
          </p:cNvPicPr>
          <p:nvPr/>
        </p:nvPicPr>
        <p:blipFill>
          <a:blip r:embed="rId3"/>
          <a:stretch>
            <a:fillRect/>
          </a:stretch>
        </p:blipFill>
        <p:spPr>
          <a:xfrm>
            <a:off x="6671887" y="2845550"/>
            <a:ext cx="4481745" cy="1464273"/>
          </a:xfrm>
          <a:prstGeom prst="rect">
            <a:avLst/>
          </a:prstGeom>
        </p:spPr>
      </p:pic>
      <p:pic>
        <p:nvPicPr>
          <p:cNvPr id="7" name="Picture 6"/>
          <p:cNvPicPr>
            <a:picLocks noChangeAspect="1"/>
          </p:cNvPicPr>
          <p:nvPr/>
        </p:nvPicPr>
        <p:blipFill>
          <a:blip r:embed="rId4"/>
          <a:stretch>
            <a:fillRect/>
          </a:stretch>
        </p:blipFill>
        <p:spPr>
          <a:xfrm>
            <a:off x="6363816" y="4596219"/>
            <a:ext cx="5119850" cy="1702185"/>
          </a:xfrm>
          <a:prstGeom prst="rect">
            <a:avLst/>
          </a:prstGeom>
        </p:spPr>
      </p:pic>
      <p:sp>
        <p:nvSpPr>
          <p:cNvPr id="8" name="TextBox 7"/>
          <p:cNvSpPr txBox="1"/>
          <p:nvPr/>
        </p:nvSpPr>
        <p:spPr>
          <a:xfrm>
            <a:off x="736943" y="2845550"/>
            <a:ext cx="4700783" cy="1347869"/>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Clustered Index data is stored in sorted order by the Clustering key. In many cases, this is the same value as the Primary Key.</a:t>
            </a:r>
          </a:p>
        </p:txBody>
      </p:sp>
      <p:sp>
        <p:nvSpPr>
          <p:cNvPr id="9" name="TextBox 8"/>
          <p:cNvSpPr txBox="1"/>
          <p:nvPr/>
        </p:nvSpPr>
        <p:spPr>
          <a:xfrm>
            <a:off x="736943" y="4817489"/>
            <a:ext cx="4700783" cy="1033982"/>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Using a WHERE statement on an Index could possibly have the Execution Plan seek the Index instead of scan.</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Table Operators</a:t>
            </a:r>
          </a:p>
        </p:txBody>
      </p:sp>
    </p:spTree>
    <p:extLst>
      <p:ext uri="{BB962C8B-B14F-4D97-AF65-F5344CB8AC3E}">
        <p14:creationId xmlns:p14="http://schemas.microsoft.com/office/powerpoint/2010/main" val="24950897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 (Code</a:t>
            </a:r>
            <a:r>
              <a:rPr lang="en-US" sz="3200" spc="-100" dirty="0">
                <a:solidFill>
                  <a:schemeClr val="dk1"/>
                </a:solidFill>
                <a:latin typeface="Segoe UI Light"/>
              </a:rPr>
              <a:t>)</a:t>
            </a:r>
          </a:p>
        </p:txBody>
      </p:sp>
      <p:pic>
        <p:nvPicPr>
          <p:cNvPr id="2" name="Picture 1">
            <a:extLst>
              <a:ext uri="{FF2B5EF4-FFF2-40B4-BE49-F238E27FC236}">
                <a16:creationId xmlns:a16="http://schemas.microsoft.com/office/drawing/2014/main" id="{68CA5CFA-A3EE-4EC4-9A57-3FF4A273C007}"/>
              </a:ext>
            </a:extLst>
          </p:cNvPr>
          <p:cNvPicPr>
            <a:picLocks noChangeAspect="1"/>
          </p:cNvPicPr>
          <p:nvPr/>
        </p:nvPicPr>
        <p:blipFill>
          <a:blip r:embed="rId2"/>
          <a:stretch>
            <a:fillRect/>
          </a:stretch>
        </p:blipFill>
        <p:spPr>
          <a:xfrm>
            <a:off x="792153" y="1636151"/>
            <a:ext cx="10195962" cy="4336086"/>
          </a:xfrm>
          <a:prstGeom prst="rect">
            <a:avLst/>
          </a:prstGeom>
        </p:spPr>
      </p:pic>
    </p:spTree>
    <p:extLst>
      <p:ext uri="{BB962C8B-B14F-4D97-AF65-F5344CB8AC3E}">
        <p14:creationId xmlns:p14="http://schemas.microsoft.com/office/powerpoint/2010/main" val="4115217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Query Execution</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85551" y="1486747"/>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Merge Join is useful if both table inputs are in the same sorted order on the same value.</a:t>
            </a:r>
          </a:p>
        </p:txBody>
      </p:sp>
      <p:sp>
        <p:nvSpPr>
          <p:cNvPr id="8" name="TextBox 7"/>
          <p:cNvSpPr txBox="1"/>
          <p:nvPr/>
        </p:nvSpPr>
        <p:spPr>
          <a:xfrm>
            <a:off x="766284" y="3278055"/>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Hash Match is used when the tables being joined are not in the same sorted order.</a:t>
            </a:r>
          </a:p>
        </p:txBody>
      </p:sp>
      <p:sp>
        <p:nvSpPr>
          <p:cNvPr id="9" name="TextBox 8"/>
          <p:cNvSpPr txBox="1"/>
          <p:nvPr/>
        </p:nvSpPr>
        <p:spPr>
          <a:xfrm>
            <a:off x="785551" y="4900319"/>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2"/>
          <a:stretch>
            <a:fillRect/>
          </a:stretch>
        </p:blipFill>
        <p:spPr>
          <a:xfrm>
            <a:off x="7712012" y="2960773"/>
            <a:ext cx="1918009" cy="1615166"/>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3"/>
          <a:stretch>
            <a:fillRect/>
          </a:stretch>
        </p:blipFill>
        <p:spPr>
          <a:xfrm>
            <a:off x="7754960" y="4883719"/>
            <a:ext cx="1932488" cy="1715760"/>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4"/>
          <a:stretch>
            <a:fillRect/>
          </a:stretch>
        </p:blipFill>
        <p:spPr>
          <a:xfrm>
            <a:off x="7754960" y="1054169"/>
            <a:ext cx="1932488" cy="1777887"/>
          </a:xfrm>
          <a:prstGeom prst="rect">
            <a:avLst/>
          </a:prstGeom>
        </p:spPr>
      </p:pic>
    </p:spTree>
    <p:extLst>
      <p:ext uri="{BB962C8B-B14F-4D97-AF65-F5344CB8AC3E}">
        <p14:creationId xmlns:p14="http://schemas.microsoft.com/office/powerpoint/2010/main" val="515589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What to look for in the query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652639767"/>
              </p:ext>
            </p:extLst>
          </p:nvPr>
        </p:nvGraphicFramePr>
        <p:xfrm>
          <a:off x="442119" y="990600"/>
          <a:ext cx="11307762" cy="541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49112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lan Analysis</a:t>
            </a:r>
          </a:p>
          <a:p>
            <a:pPr marL="342900" indent="-342900">
              <a:buFont typeface="Arial" panose="020B0604020202020204" pitchFamily="34" charset="0"/>
              <a:buChar char="•"/>
            </a:pPr>
            <a:r>
              <a:rPr lang="en-US" sz="2000" dirty="0"/>
              <a:t>Use the graphical execution plan and IO statistics to tune a query.</a:t>
            </a:r>
          </a:p>
          <a:p>
            <a:pPr marL="342900" indent="-342900">
              <a:buFont typeface="Arial" panose="020B0604020202020204" pitchFamily="34" charset="0"/>
              <a:buChar char="•"/>
            </a:pPr>
            <a:r>
              <a:rPr lang="en-US" sz="2000" dirty="0"/>
              <a:t>Explore Live Query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fr-FR" dirty="0"/>
              <a:t>Lesson 3: SQL Server Plan Cache Internals </a:t>
            </a:r>
            <a:endParaRPr lang="en-US" dirty="0"/>
          </a:p>
        </p:txBody>
      </p:sp>
    </p:spTree>
    <p:extLst>
      <p:ext uri="{BB962C8B-B14F-4D97-AF65-F5344CB8AC3E}">
        <p14:creationId xmlns:p14="http://schemas.microsoft.com/office/powerpoint/2010/main" val="18821804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purpose and contents of the plan cache.</a:t>
            </a:r>
          </a:p>
          <a:p>
            <a:r>
              <a:rPr lang="en-US" dirty="0"/>
              <a:t>Query the plan cache using Dynamic Management Objects.</a:t>
            </a:r>
          </a:p>
          <a:p>
            <a:r>
              <a:rPr lang="en-US" dirty="0"/>
              <a:t>Discuss the pros and cons of plan reuse.</a:t>
            </a:r>
          </a:p>
          <a:p>
            <a:r>
              <a:rPr lang="en-US" dirty="0"/>
              <a:t>Explain why </a:t>
            </a:r>
            <a:r>
              <a:rPr lang="en-US" i="1" dirty="0"/>
              <a:t>ad hoc </a:t>
            </a:r>
            <a:r>
              <a:rPr lang="en-US" dirty="0"/>
              <a:t>SQL statements can be especially problematic.</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219037743"/>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08538"/>
            <a:ext cx="10880725" cy="461665"/>
          </a:xfrm>
        </p:spPr>
        <p:txBody>
          <a:bodyPr/>
          <a:lstStyle/>
          <a:p>
            <a:r>
              <a:rPr lang="en-US" dirty="0"/>
              <a:t>The Plan Cache</a:t>
            </a:r>
          </a:p>
        </p:txBody>
      </p:sp>
      <p:graphicFrame>
        <p:nvGraphicFramePr>
          <p:cNvPr id="12" name="Content Placeholder 11">
            <a:extLst>
              <a:ext uri="{FF2B5EF4-FFF2-40B4-BE49-F238E27FC236}">
                <a16:creationId xmlns:a16="http://schemas.microsoft.com/office/drawing/2014/main" id="{A7202010-A317-457F-B4F7-8BA153FC2640}"/>
              </a:ext>
            </a:extLst>
          </p:cNvPr>
          <p:cNvGraphicFramePr>
            <a:graphicFrameLocks noGrp="1"/>
          </p:cNvGraphicFramePr>
          <p:nvPr>
            <p:ph sz="quarter" idx="13"/>
          </p:nvPr>
        </p:nvGraphicFramePr>
        <p:xfrm>
          <a:off x="655638" y="1408114"/>
          <a:ext cx="10880726" cy="34062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86487599-AFEE-4CF0-A00F-C605F5977B65}"/>
              </a:ext>
            </a:extLst>
          </p:cNvPr>
          <p:cNvGrpSpPr/>
          <p:nvPr/>
        </p:nvGrpSpPr>
        <p:grpSpPr>
          <a:xfrm>
            <a:off x="1436146" y="4974385"/>
            <a:ext cx="6194680" cy="1663430"/>
            <a:chOff x="1436146" y="4974385"/>
            <a:chExt cx="6194680" cy="1663430"/>
          </a:xfrm>
        </p:grpSpPr>
        <p:sp>
          <p:nvSpPr>
            <p:cNvPr id="7" name="Rectangle: Rounded Corners 6">
              <a:extLst>
                <a:ext uri="{FF2B5EF4-FFF2-40B4-BE49-F238E27FC236}">
                  <a16:creationId xmlns:a16="http://schemas.microsoft.com/office/drawing/2014/main" id="{AE398C95-BFB1-4B02-A6EC-7F8644204ABA}"/>
                </a:ext>
              </a:extLst>
            </p:cNvPr>
            <p:cNvSpPr/>
            <p:nvPr/>
          </p:nvSpPr>
          <p:spPr bwMode="auto">
            <a:xfrm>
              <a:off x="2982626" y="4974385"/>
              <a:ext cx="4648200" cy="16634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63D22EF-0FAC-4F52-A8E7-D87FFACBB6CA}"/>
                </a:ext>
              </a:extLst>
            </p:cNvPr>
            <p:cNvSpPr/>
            <p:nvPr/>
          </p:nvSpPr>
          <p:spPr bwMode="auto">
            <a:xfrm>
              <a:off x="3163104" y="5242670"/>
              <a:ext cx="762000" cy="747342"/>
            </a:xfrm>
            <a:prstGeom prst="roundRect">
              <a:avLst/>
            </a:prstGeom>
            <a:solidFill>
              <a:srgbClr val="107C10"/>
            </a:solidFill>
            <a:ln>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3C1D6757-30EC-4197-A1CE-255282DA03FB}"/>
                </a:ext>
              </a:extLst>
            </p:cNvPr>
            <p:cNvSpPr/>
            <p:nvPr/>
          </p:nvSpPr>
          <p:spPr bwMode="auto">
            <a:xfrm>
              <a:off x="4049440" y="5124538"/>
              <a:ext cx="3423209" cy="1395144"/>
            </a:xfrm>
            <a:prstGeom prst="roundRect">
              <a:avLst/>
            </a:prstGeom>
            <a:solidFill>
              <a:schemeClr val="accent3"/>
            </a:solidFill>
            <a:ln>
              <a:solidFill>
                <a:schemeClr val="accent4">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2042FE55-1A0C-467D-B410-9145965805E5}"/>
                </a:ext>
              </a:extLst>
            </p:cNvPr>
            <p:cNvSpPr/>
            <p:nvPr/>
          </p:nvSpPr>
          <p:spPr>
            <a:xfrm>
              <a:off x="1436146" y="5513716"/>
              <a:ext cx="1590164" cy="64633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QL Server’s Memory</a:t>
              </a:r>
            </a:p>
          </p:txBody>
        </p:sp>
        <p:sp>
          <p:nvSpPr>
            <p:cNvPr id="9" name="Rectangle: Rounded Corners 8">
              <a:extLst>
                <a:ext uri="{FF2B5EF4-FFF2-40B4-BE49-F238E27FC236}">
                  <a16:creationId xmlns:a16="http://schemas.microsoft.com/office/drawing/2014/main" id="{2CD26E3D-A698-4CFD-AD33-CC543F940D66}"/>
                </a:ext>
              </a:extLst>
            </p:cNvPr>
            <p:cNvSpPr/>
            <p:nvPr/>
          </p:nvSpPr>
          <p:spPr bwMode="auto">
            <a:xfrm>
              <a:off x="3165911" y="6160047"/>
              <a:ext cx="744558" cy="343230"/>
            </a:xfrm>
            <a:prstGeom prst="roundRect">
              <a:avLst/>
            </a:prstGeom>
            <a:solidFill>
              <a:schemeClr val="accent6"/>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DE6FC4A7-7256-45DE-AF60-F9910431DE9B}"/>
                </a:ext>
              </a:extLst>
            </p:cNvPr>
            <p:cNvSpPr txBox="1"/>
            <p:nvPr/>
          </p:nvSpPr>
          <p:spPr>
            <a:xfrm>
              <a:off x="5192426" y="5600861"/>
              <a:ext cx="19812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Buffer Pool</a:t>
              </a:r>
            </a:p>
          </p:txBody>
        </p:sp>
        <p:sp>
          <p:nvSpPr>
            <p:cNvPr id="11" name="TextBox 10">
              <a:extLst>
                <a:ext uri="{FF2B5EF4-FFF2-40B4-BE49-F238E27FC236}">
                  <a16:creationId xmlns:a16="http://schemas.microsoft.com/office/drawing/2014/main" id="{4C1DBF06-3742-493B-AC19-D75F0CE96B27}"/>
                </a:ext>
              </a:extLst>
            </p:cNvPr>
            <p:cNvSpPr txBox="1"/>
            <p:nvPr/>
          </p:nvSpPr>
          <p:spPr>
            <a:xfrm>
              <a:off x="3187288" y="5418493"/>
              <a:ext cx="723181" cy="369332"/>
            </a:xfrm>
            <a:prstGeom prst="rect">
              <a:avLst/>
            </a:prstGeom>
            <a:solidFill>
              <a:srgbClr val="107C1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ache</a:t>
              </a:r>
            </a:p>
          </p:txBody>
        </p:sp>
        <p:sp>
          <p:nvSpPr>
            <p:cNvPr id="13" name="TextBox 12">
              <a:extLst>
                <a:ext uri="{FF2B5EF4-FFF2-40B4-BE49-F238E27FC236}">
                  <a16:creationId xmlns:a16="http://schemas.microsoft.com/office/drawing/2014/main" id="{299B3597-7322-4B4C-89BD-1B1865818001}"/>
                </a:ext>
              </a:extLst>
            </p:cNvPr>
            <p:cNvSpPr txBox="1"/>
            <p:nvPr/>
          </p:nvSpPr>
          <p:spPr>
            <a:xfrm>
              <a:off x="3224057" y="6226278"/>
              <a:ext cx="540075" cy="184666"/>
            </a:xfrm>
            <a:prstGeom prst="rect">
              <a:avLst/>
            </a:prstGeom>
            <a:solidFill>
              <a:schemeClr val="accent6"/>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ther</a:t>
              </a:r>
            </a:p>
          </p:txBody>
        </p:sp>
      </p:grpSp>
      <p:sp>
        <p:nvSpPr>
          <p:cNvPr id="15" name="Rectangle 14">
            <a:extLst>
              <a:ext uri="{FF2B5EF4-FFF2-40B4-BE49-F238E27FC236}">
                <a16:creationId xmlns:a16="http://schemas.microsoft.com/office/drawing/2014/main" id="{0CE6064C-8A6A-43FA-BC46-EBA10AA599F9}"/>
              </a:ext>
            </a:extLst>
          </p:cNvPr>
          <p:cNvSpPr/>
          <p:nvPr/>
        </p:nvSpPr>
        <p:spPr bwMode="auto">
          <a:xfrm>
            <a:off x="7943025" y="5144305"/>
            <a:ext cx="2468562" cy="1395143"/>
          </a:xfrm>
          <a:prstGeom prst="rect">
            <a:avLst/>
          </a:prstGeom>
          <a:solidFill>
            <a:srgbClr val="D1DB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With a fixed amount of memory, when the plan cache grows the buffer pool shrinks and vice-versa</a:t>
            </a:r>
          </a:p>
        </p:txBody>
      </p:sp>
    </p:spTree>
    <p:extLst>
      <p:ext uri="{BB962C8B-B14F-4D97-AF65-F5344CB8AC3E}">
        <p14:creationId xmlns:p14="http://schemas.microsoft.com/office/powerpoint/2010/main" val="34566301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66336"/>
            <a:ext cx="11655840" cy="461665"/>
          </a:xfrm>
        </p:spPr>
        <p:txBody>
          <a:bodyPr/>
          <a:lstStyle/>
          <a:p>
            <a:r>
              <a:rPr lang="en-US"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nvGraphicFramePr>
        <p:xfrm>
          <a:off x="1012608" y="1077542"/>
          <a:ext cx="10166784" cy="5310090"/>
        </p:xfrm>
        <a:graphic>
          <a:graphicData uri="http://schemas.openxmlformats.org/drawingml/2006/table">
            <a:tbl>
              <a:tblPr firstRow="1" bandRow="1">
                <a:effectLst/>
              </a:tblPr>
              <a:tblGrid>
                <a:gridCol w="3179403">
                  <a:extLst>
                    <a:ext uri="{9D8B030D-6E8A-4147-A177-3AD203B41FA5}">
                      <a16:colId xmlns:a16="http://schemas.microsoft.com/office/drawing/2014/main" val="20000"/>
                    </a:ext>
                  </a:extLst>
                </a:gridCol>
                <a:gridCol w="6987381">
                  <a:extLst>
                    <a:ext uri="{9D8B030D-6E8A-4147-A177-3AD203B41FA5}">
                      <a16:colId xmlns:a16="http://schemas.microsoft.com/office/drawing/2014/main" val="20001"/>
                    </a:ext>
                  </a:extLst>
                </a:gridCol>
              </a:tblGrid>
              <a:tr h="885015">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latin typeface="Segoe UI Light" panose="020B0502040204020203" pitchFamily="34" charset="0"/>
                          <a:cs typeface="Segoe UI Light" panose="020B0502040204020203" pitchFamily="34" charset="0"/>
                        </a:rPr>
                        <a:t>Category</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latin typeface="Segoe UI Light" panose="020B0502040204020203" pitchFamily="34" charset="0"/>
                          <a:cs typeface="Segoe UI Light" panose="020B0502040204020203" pitchFamily="34" charset="0"/>
                        </a:rPr>
                        <a:t>Description</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1"/>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3"/>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0302-7393-441A-806F-F4B48A6F0315}"/>
              </a:ext>
            </a:extLst>
          </p:cNvPr>
          <p:cNvSpPr>
            <a:spLocks noGrp="1"/>
          </p:cNvSpPr>
          <p:nvPr>
            <p:ph type="title"/>
          </p:nvPr>
        </p:nvSpPr>
        <p:spPr/>
        <p:txBody>
          <a:bodyPr/>
          <a:lstStyle/>
          <a:p>
            <a:r>
              <a:rPr lang="en-US" dirty="0"/>
              <a:t>Dynamic Management Objects</a:t>
            </a:r>
          </a:p>
        </p:txBody>
      </p:sp>
      <p:sp>
        <p:nvSpPr>
          <p:cNvPr id="3" name="Subtitle 2">
            <a:extLst>
              <a:ext uri="{FF2B5EF4-FFF2-40B4-BE49-F238E27FC236}">
                <a16:creationId xmlns:a16="http://schemas.microsoft.com/office/drawing/2014/main" id="{3B55BF2F-E2BD-40A4-98A6-A689B71CBFEC}"/>
              </a:ext>
            </a:extLst>
          </p:cNvPr>
          <p:cNvSpPr>
            <a:spLocks noGrp="1"/>
          </p:cNvSpPr>
          <p:nvPr>
            <p:ph type="subTitle" idx="1"/>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AEA6DA8A-3FA6-41CB-BD83-973312B2FA9E}"/>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38707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F92A-0E0E-4D3B-A08D-A4B1353FA7F2}"/>
              </a:ext>
            </a:extLst>
          </p:cNvPr>
          <p:cNvSpPr>
            <a:spLocks noGrp="1"/>
          </p:cNvSpPr>
          <p:nvPr>
            <p:ph type="title"/>
          </p:nvPr>
        </p:nvSpPr>
        <p:spPr>
          <a:xfrm>
            <a:off x="679269" y="320040"/>
            <a:ext cx="10857094" cy="461665"/>
          </a:xfrm>
        </p:spPr>
        <p:txBody>
          <a:bodyPr/>
          <a:lstStyle/>
          <a:p>
            <a:r>
              <a:rPr lang="en-US" dirty="0"/>
              <a:t>Relationships between DMOs</a:t>
            </a:r>
          </a:p>
        </p:txBody>
      </p:sp>
      <p:sp>
        <p:nvSpPr>
          <p:cNvPr id="5" name="Rectangle 4">
            <a:extLst>
              <a:ext uri="{FF2B5EF4-FFF2-40B4-BE49-F238E27FC236}">
                <a16:creationId xmlns:a16="http://schemas.microsoft.com/office/drawing/2014/main" id="{69B73290-F650-4355-A653-17468CE10FAD}"/>
              </a:ext>
            </a:extLst>
          </p:cNvPr>
          <p:cNvSpPr/>
          <p:nvPr/>
        </p:nvSpPr>
        <p:spPr bwMode="auto">
          <a:xfrm>
            <a:off x="4466069" y="1669632"/>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ys.dm_exec_cached_plan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553A92EB-C277-423B-BE0F-7A9BFA432B0B}"/>
              </a:ext>
            </a:extLst>
          </p:cNvPr>
          <p:cNvSpPr/>
          <p:nvPr/>
        </p:nvSpPr>
        <p:spPr bwMode="auto">
          <a:xfrm>
            <a:off x="2938189" y="4923755"/>
            <a:ext cx="2610157" cy="838200"/>
          </a:xfrm>
          <a:prstGeom prst="rect">
            <a:avLst/>
          </a:prstGeom>
          <a:solidFill>
            <a:srgbClr val="3B5AC4"/>
          </a:solidFill>
          <a:ln>
            <a:solidFill>
              <a:srgbClr val="3B5A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ys.dm_exec_query_plan()</a:t>
            </a:r>
          </a:p>
        </p:txBody>
      </p:sp>
      <p:sp>
        <p:nvSpPr>
          <p:cNvPr id="7" name="Rectangle 6">
            <a:extLst>
              <a:ext uri="{FF2B5EF4-FFF2-40B4-BE49-F238E27FC236}">
                <a16:creationId xmlns:a16="http://schemas.microsoft.com/office/drawing/2014/main" id="{B1085922-86B0-4E99-B4C0-255ED11E6C2C}"/>
              </a:ext>
            </a:extLst>
          </p:cNvPr>
          <p:cNvSpPr/>
          <p:nvPr/>
        </p:nvSpPr>
        <p:spPr bwMode="auto">
          <a:xfrm>
            <a:off x="6183834" y="4923755"/>
            <a:ext cx="2610157" cy="838200"/>
          </a:xfrm>
          <a:prstGeom prst="rect">
            <a:avLst/>
          </a:prstGeom>
          <a:solidFill>
            <a:schemeClr val="accent5"/>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ys.dm_exec_sql_text()</a:t>
            </a:r>
          </a:p>
        </p:txBody>
      </p:sp>
      <p:sp>
        <p:nvSpPr>
          <p:cNvPr id="10" name="Rectangle 9">
            <a:extLst>
              <a:ext uri="{FF2B5EF4-FFF2-40B4-BE49-F238E27FC236}">
                <a16:creationId xmlns:a16="http://schemas.microsoft.com/office/drawing/2014/main" id="{F3C464DF-700D-4809-B529-1A93FB74381A}"/>
              </a:ext>
            </a:extLst>
          </p:cNvPr>
          <p:cNvSpPr/>
          <p:nvPr/>
        </p:nvSpPr>
        <p:spPr bwMode="auto">
          <a:xfrm>
            <a:off x="4466069" y="3215881"/>
            <a:ext cx="2610157" cy="838200"/>
          </a:xfrm>
          <a:prstGeom prst="rect">
            <a:avLst/>
          </a:prstGeom>
          <a:solidFill>
            <a:srgbClr val="2A97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ys.dm_exec_query_stat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B0C09F7F-86C9-450E-B473-3F57068ACE6A}"/>
              </a:ext>
            </a:extLst>
          </p:cNvPr>
          <p:cNvCxnSpPr>
            <a:cxnSpLocks/>
            <a:stCxn id="5" idx="2"/>
            <a:endCxn id="10" idx="0"/>
          </p:cNvCxnSpPr>
          <p:nvPr/>
        </p:nvCxnSpPr>
        <p:spPr>
          <a:xfrm>
            <a:off x="5771148" y="2507832"/>
            <a:ext cx="0" cy="70804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F98BEE3-56E8-42C2-8A79-A971C558FF85}"/>
              </a:ext>
            </a:extLst>
          </p:cNvPr>
          <p:cNvCxnSpPr>
            <a:cxnSpLocks/>
            <a:stCxn id="10" idx="2"/>
            <a:endCxn id="6" idx="0"/>
          </p:cNvCxnSpPr>
          <p:nvPr/>
        </p:nvCxnSpPr>
        <p:spPr>
          <a:xfrm flipH="1">
            <a:off x="4243268" y="4054081"/>
            <a:ext cx="1527880"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62FF271-BCCD-4328-91F7-DEEEA42DF968}"/>
              </a:ext>
            </a:extLst>
          </p:cNvPr>
          <p:cNvCxnSpPr>
            <a:cxnSpLocks/>
            <a:stCxn id="10" idx="2"/>
            <a:endCxn id="7" idx="0"/>
          </p:cNvCxnSpPr>
          <p:nvPr/>
        </p:nvCxnSpPr>
        <p:spPr>
          <a:xfrm>
            <a:off x="5771148" y="4054081"/>
            <a:ext cx="1717765"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834C5F4-7343-45AE-A831-1653AC98B2DC}"/>
              </a:ext>
            </a:extLst>
          </p:cNvPr>
          <p:cNvSpPr txBox="1"/>
          <p:nvPr/>
        </p:nvSpPr>
        <p:spPr>
          <a:xfrm>
            <a:off x="4466069" y="4393104"/>
            <a:ext cx="1295400"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lan_handle</a:t>
            </a:r>
          </a:p>
        </p:txBody>
      </p:sp>
      <p:sp>
        <p:nvSpPr>
          <p:cNvPr id="38" name="TextBox 37">
            <a:extLst>
              <a:ext uri="{FF2B5EF4-FFF2-40B4-BE49-F238E27FC236}">
                <a16:creationId xmlns:a16="http://schemas.microsoft.com/office/drawing/2014/main" id="{021B8E0D-6A61-4B6F-B06B-B74393601C17}"/>
              </a:ext>
            </a:extLst>
          </p:cNvPr>
          <p:cNvSpPr txBox="1"/>
          <p:nvPr/>
        </p:nvSpPr>
        <p:spPr>
          <a:xfrm>
            <a:off x="6162440" y="4289212"/>
            <a:ext cx="1295400" cy="430887"/>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lan_hand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or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ql_handle</a:t>
            </a:r>
          </a:p>
        </p:txBody>
      </p:sp>
      <p:sp>
        <p:nvSpPr>
          <p:cNvPr id="43" name="TextBox 42">
            <a:extLst>
              <a:ext uri="{FF2B5EF4-FFF2-40B4-BE49-F238E27FC236}">
                <a16:creationId xmlns:a16="http://schemas.microsoft.com/office/drawing/2014/main" id="{209C18E2-F59B-4654-80C0-22A61F51B0EC}"/>
              </a:ext>
            </a:extLst>
          </p:cNvPr>
          <p:cNvSpPr txBox="1"/>
          <p:nvPr/>
        </p:nvSpPr>
        <p:spPr>
          <a:xfrm>
            <a:off x="5187138" y="2709596"/>
            <a:ext cx="1295400"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lan_handle</a:t>
            </a:r>
          </a:p>
        </p:txBody>
      </p:sp>
    </p:spTree>
    <p:extLst>
      <p:ext uri="{BB962C8B-B14F-4D97-AF65-F5344CB8AC3E}">
        <p14:creationId xmlns:p14="http://schemas.microsoft.com/office/powerpoint/2010/main" val="2077511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Explain Query Compilation and Optimization Process.</a:t>
            </a:r>
          </a:p>
          <a:p>
            <a:r>
              <a:rPr lang="en-US" dirty="0"/>
              <a:t>Explain Query Execution Process.</a:t>
            </a:r>
          </a:p>
          <a:p>
            <a:r>
              <a:rPr lang="en-US" dirty="0"/>
              <a:t>Explain Recompilation caus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Captured Metrics (sys.dm_exec_query_stats ) </a:t>
            </a:r>
          </a:p>
        </p:txBody>
      </p:sp>
      <p:graphicFrame>
        <p:nvGraphicFramePr>
          <p:cNvPr id="6" name="Content Placeholder 5">
            <a:extLst>
              <a:ext uri="{FF2B5EF4-FFF2-40B4-BE49-F238E27FC236}">
                <a16:creationId xmlns:a16="http://schemas.microsoft.com/office/drawing/2014/main" id="{5B8AE85A-49AB-4B7D-B64D-F4C588116D35}"/>
              </a:ext>
            </a:extLst>
          </p:cNvPr>
          <p:cNvGraphicFramePr>
            <a:graphicFrameLocks noGrp="1"/>
          </p:cNvGraphicFramePr>
          <p:nvPr>
            <p:ph sz="quarter" idx="13"/>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nvPr>
        </p:nvGraphicFramePr>
        <p:xfrm>
          <a:off x="625792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a:extLst>
              <a:ext uri="{FF2B5EF4-FFF2-40B4-BE49-F238E27FC236}">
                <a16:creationId xmlns:a16="http://schemas.microsoft.com/office/drawing/2014/main" id="{3A8BC14F-2D98-4C89-B913-E0613170CAB5}"/>
              </a:ext>
            </a:extLst>
          </p:cNvPr>
          <p:cNvSpPr txBox="1"/>
          <p:nvPr/>
        </p:nvSpPr>
        <p:spPr>
          <a:xfrm>
            <a:off x="3314699" y="6335357"/>
            <a:ext cx="556260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ute Average:  Avg = Total / Execution count</a:t>
            </a:r>
          </a:p>
        </p:txBody>
      </p:sp>
      <p:sp>
        <p:nvSpPr>
          <p:cNvPr id="8" name="Subtitle 2">
            <a:extLst>
              <a:ext uri="{FF2B5EF4-FFF2-40B4-BE49-F238E27FC236}">
                <a16:creationId xmlns:a16="http://schemas.microsoft.com/office/drawing/2014/main" id="{90108884-1DBA-4B16-BD7E-E94DE6853026}"/>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672"/>
              </a:spcBef>
              <a:spcAft>
                <a:spcPts val="0"/>
              </a:spcAft>
              <a:buClr>
                <a:srgbClr val="000000"/>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Partial listing</a:t>
            </a:r>
          </a:p>
        </p:txBody>
      </p:sp>
    </p:spTree>
    <p:extLst>
      <p:ext uri="{BB962C8B-B14F-4D97-AF65-F5344CB8AC3E}">
        <p14:creationId xmlns:p14="http://schemas.microsoft.com/office/powerpoint/2010/main" val="2531563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1D056E-9049-4CA3-BF1F-DC2B7508DAAB}"/>
              </a:ext>
            </a:extLst>
          </p:cNvPr>
          <p:cNvSpPr/>
          <p:nvPr/>
        </p:nvSpPr>
        <p:spPr bwMode="auto">
          <a:xfrm>
            <a:off x="1101374" y="4678405"/>
            <a:ext cx="6735571" cy="381897"/>
          </a:xfrm>
          <a:prstGeom prst="rect">
            <a:avLst/>
          </a:prstGeom>
          <a:solidFill>
            <a:srgbClr val="FEF00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7A8A069-1E02-4EF1-915C-021D16EEB7E0}"/>
              </a:ext>
            </a:extLst>
          </p:cNvPr>
          <p:cNvSpPr>
            <a:spLocks noGrp="1"/>
          </p:cNvSpPr>
          <p:nvPr>
            <p:ph type="title"/>
          </p:nvPr>
        </p:nvSpPr>
        <p:spPr>
          <a:xfrm>
            <a:off x="655638" y="303711"/>
            <a:ext cx="10880725" cy="461665"/>
          </a:xfrm>
        </p:spPr>
        <p:txBody>
          <a:bodyPr/>
          <a:lstStyle/>
          <a:p>
            <a:r>
              <a:rPr lang="en-US" dirty="0"/>
              <a:t>Mining the Plan Cache with T-SQL</a:t>
            </a:r>
          </a:p>
        </p:txBody>
      </p:sp>
      <p:sp>
        <p:nvSpPr>
          <p:cNvPr id="3" name="Subtitle 2">
            <a:extLst>
              <a:ext uri="{FF2B5EF4-FFF2-40B4-BE49-F238E27FC236}">
                <a16:creationId xmlns:a16="http://schemas.microsoft.com/office/drawing/2014/main" id="{240C0451-E3AC-45B7-8F9F-0534A6FA7219}"/>
              </a:ext>
            </a:extLst>
          </p:cNvPr>
          <p:cNvSpPr>
            <a:spLocks noGrp="1"/>
          </p:cNvSpPr>
          <p:nvPr>
            <p:ph type="subTitle" idx="1"/>
          </p:nvPr>
        </p:nvSpPr>
        <p:spPr/>
        <p:txBody>
          <a:bodyPr/>
          <a:lstStyle/>
          <a:p>
            <a:r>
              <a:rPr lang="en-US" dirty="0"/>
              <a:t>Top 10 plans by logical reads</a:t>
            </a:r>
          </a:p>
        </p:txBody>
      </p:sp>
      <p:sp>
        <p:nvSpPr>
          <p:cNvPr id="7" name="Rectangle 6">
            <a:extLst>
              <a:ext uri="{FF2B5EF4-FFF2-40B4-BE49-F238E27FC236}">
                <a16:creationId xmlns:a16="http://schemas.microsoft.com/office/drawing/2014/main" id="{3347287B-EEB8-4B84-ADF1-D7050BAA2A15}"/>
              </a:ext>
            </a:extLst>
          </p:cNvPr>
          <p:cNvSpPr/>
          <p:nvPr/>
        </p:nvSpPr>
        <p:spPr>
          <a:xfrm>
            <a:off x="595765" y="1550576"/>
            <a:ext cx="11530921" cy="4401205"/>
          </a:xfrm>
          <a:prstGeom prst="rect">
            <a:avLst/>
          </a:prstGeom>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bid</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32767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resourcedb'</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NULL</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NA'</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DB_NAM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bid</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atabas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OBJECT_NAM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objectid</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object_nam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BSTRING</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ex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ement_start_offse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2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ement_end_offse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DATALENGTH</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ex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ement_end_offse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tement_start_offse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2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ql_statemen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exec_coun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vg_logical_read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vg_CPU_m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vg_time_m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vg_logical_write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p</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OP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lan_handl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_start_offse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_end_offse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_coun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worker_time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00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vg_CPU_m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elapsed_time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00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vg_time_m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logical_read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logical_read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vg_logical_read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logical_write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logical_write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vg_logical_wri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query_stats</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otal_logical_read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ecution_coun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ESC</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CROS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sql_tex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lan_handl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CROS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query_plan</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lan_handl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vg_logical_reads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ESC</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RECOMPIL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p:txBody>
      </p:sp>
      <p:pic>
        <p:nvPicPr>
          <p:cNvPr id="4" name="Picture 3">
            <a:extLst>
              <a:ext uri="{FF2B5EF4-FFF2-40B4-BE49-F238E27FC236}">
                <a16:creationId xmlns:a16="http://schemas.microsoft.com/office/drawing/2014/main" id="{6F3C3E11-95F5-45C5-B490-A924262C6B18}"/>
              </a:ext>
            </a:extLst>
          </p:cNvPr>
          <p:cNvPicPr>
            <a:picLocks noChangeAspect="1"/>
          </p:cNvPicPr>
          <p:nvPr/>
        </p:nvPicPr>
        <p:blipFill>
          <a:blip r:embed="rId3"/>
          <a:stretch>
            <a:fillRect/>
          </a:stretch>
        </p:blipFill>
        <p:spPr>
          <a:xfrm>
            <a:off x="1006474" y="2451455"/>
            <a:ext cx="10880725" cy="2226950"/>
          </a:xfrm>
          <a:prstGeom prst="rect">
            <a:avLst/>
          </a:prstGeom>
          <a:ln w="19050">
            <a:solidFill>
              <a:schemeClr val="tx1"/>
            </a:solidFill>
          </a:ln>
          <a:effectLst>
            <a:outerShdw blurRad="50800" dist="38100" dir="2700000" algn="tl" rotWithShape="0">
              <a:prstClr val="black">
                <a:alpha val="40000"/>
              </a:prstClr>
            </a:outerShdw>
          </a:effectLst>
        </p:spPr>
      </p:pic>
      <p:sp>
        <p:nvSpPr>
          <p:cNvPr id="8" name="Speech Bubble: Rectangle 7">
            <a:extLst>
              <a:ext uri="{FF2B5EF4-FFF2-40B4-BE49-F238E27FC236}">
                <a16:creationId xmlns:a16="http://schemas.microsoft.com/office/drawing/2014/main" id="{A2223810-929A-4CD1-8B83-E2A2F3B9C73C}"/>
              </a:ext>
            </a:extLst>
          </p:cNvPr>
          <p:cNvSpPr/>
          <p:nvPr/>
        </p:nvSpPr>
        <p:spPr bwMode="auto">
          <a:xfrm>
            <a:off x="7627172" y="4980933"/>
            <a:ext cx="4260027" cy="1756048"/>
          </a:xfrm>
          <a:prstGeom prst="wedgeRectCallout">
            <a:avLst>
              <a:gd name="adj1" fmla="val -82565"/>
              <a:gd name="adj2" fmla="val -4774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Body"/>
                <a:ea typeface="+mn-ea"/>
                <a:cs typeface="+mn-cs"/>
              </a:rPr>
              <a:t>Vary the subquery ORDER BY metrics to identify top queries by other measures:</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total_worker_time/</a:t>
            </a:r>
            <a:r>
              <a:rPr kumimoji="0" lang="en-US" sz="1600" b="0" i="0"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rPr>
              <a:t>execution_count</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total_elapsed_time/</a:t>
            </a:r>
            <a:r>
              <a:rPr kumimoji="0" lang="en-US" sz="1600" b="0" i="0"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rPr>
              <a:t>execution_coun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rPr>
              <a:t>execution_count</a:t>
            </a:r>
          </a:p>
          <a:p>
            <a:pPr marL="285750" marR="0" lvl="0" indent="-28575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1"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rPr>
              <a:t>etc.</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endParaRPr>
          </a:p>
          <a:p>
            <a:pPr marL="342900" marR="0" lvl="0" indent="-342900" algn="l" defTabSz="932472"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FFFFFF"/>
                </a:solidFill>
                <a:effectLst/>
                <a:uLnTx/>
                <a:uFillTx/>
                <a:latin typeface="Segoe UI Body"/>
                <a:ea typeface="Segoe UI" pitchFamily="34" charset="0"/>
                <a:cs typeface="Segoe UI" pitchFamily="34" charset="0"/>
              </a:rPr>
              <a:t>…</a:t>
            </a:r>
          </a:p>
        </p:txBody>
      </p:sp>
    </p:spTree>
    <p:extLst>
      <p:ext uri="{BB962C8B-B14F-4D97-AF65-F5344CB8AC3E}">
        <p14:creationId xmlns:p14="http://schemas.microsoft.com/office/powerpoint/2010/main" val="387572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9135E-E4E6-40F6-906B-F6316EDE43F4}"/>
              </a:ext>
            </a:extLst>
          </p:cNvPr>
          <p:cNvSpPr>
            <a:spLocks noGrp="1"/>
          </p:cNvSpPr>
          <p:nvPr>
            <p:ph type="title"/>
          </p:nvPr>
        </p:nvSpPr>
        <p:spPr/>
        <p:txBody>
          <a:bodyPr/>
          <a:lstStyle/>
          <a:p>
            <a:r>
              <a:rPr lang="en-US" dirty="0"/>
              <a:t>Mining the Plan Cache using XQuery</a:t>
            </a:r>
          </a:p>
        </p:txBody>
      </p:sp>
      <p:sp>
        <p:nvSpPr>
          <p:cNvPr id="3" name="Subtitle 2">
            <a:extLst>
              <a:ext uri="{FF2B5EF4-FFF2-40B4-BE49-F238E27FC236}">
                <a16:creationId xmlns:a16="http://schemas.microsoft.com/office/drawing/2014/main" id="{58043345-EB6F-410B-839D-3B3B94FD49AE}"/>
              </a:ext>
            </a:extLst>
          </p:cNvPr>
          <p:cNvSpPr>
            <a:spLocks noGrp="1"/>
          </p:cNvSpPr>
          <p:nvPr>
            <p:ph type="subTitle" idx="1"/>
          </p:nvPr>
        </p:nvSpPr>
        <p:spPr/>
        <p:txBody>
          <a:bodyPr/>
          <a:lstStyle/>
          <a:p>
            <a:r>
              <a:rPr lang="en-US" dirty="0"/>
              <a:t>Plans with implicit conversions</a:t>
            </a:r>
          </a:p>
        </p:txBody>
      </p:sp>
      <p:sp>
        <p:nvSpPr>
          <p:cNvPr id="5" name="Rectangle 4">
            <a:extLst>
              <a:ext uri="{FF2B5EF4-FFF2-40B4-BE49-F238E27FC236}">
                <a16:creationId xmlns:a16="http://schemas.microsoft.com/office/drawing/2014/main" id="{64CA118F-FB91-4076-9244-5FA42F93238F}"/>
              </a:ext>
            </a:extLst>
          </p:cNvPr>
          <p:cNvSpPr/>
          <p:nvPr/>
        </p:nvSpPr>
        <p:spPr>
          <a:xfrm>
            <a:off x="655637" y="1547302"/>
            <a:ext cx="10975749" cy="4524315"/>
          </a:xfrm>
          <a:prstGeom prst="rect">
            <a:avLst/>
          </a:prstGeom>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XMLNAMESPACES</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EFAUL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http://schemas.microsoft.com/sqlserver/2004/07/show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onvertsearch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usecount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objtyp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lan_hand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mtSi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FROM</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cached_plan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p</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OLOCK</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CROS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query_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lan_hand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p</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CROS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ode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WHERE</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p</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acheobjtype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Compiled Plan'</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ND</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exi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QueryHas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ND</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exi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calarOperator[contains(@ScalarString, "CONVERT_IMPLICI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ND</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exi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contains(@StatementText, "Convertsearc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atementTex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VARCHAR(4000)'</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ql_tex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atementId'</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in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Id</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3</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calarString[1]'</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VARCHAR(4000)'</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xpressio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usecount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1]/@QueryHas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VARCHAR(100)'</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uery_has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1]/@QueryPlanHas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VARCHAR(100)'</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uery_plan_hash</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1]/@StatementSubTreeCo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ysnam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SubTreeCo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EstimatedTotalSubtreeCo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ysnam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stimatedTotalSubtreeCos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1]/@StatementOptmEarlyAbortReaso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ysnam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OptmEarlyAbortReaso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valu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1]/@StatementOptmLevel'</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ysnam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mentOptmLevel</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lan_hand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onvertsearch 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CROS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uery_pla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ode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tmtSimp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CROS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PPLY</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2</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odes</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calarOperator[contains(@ScalarString, "CONVERT_IMPLICIT")]'</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3</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c3</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RECOMPILE</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MAXDOP</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r>
              <a:rPr kumimoji="0" lang="en-US" sz="12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E22D601B-2497-41FF-AEC1-6C6BEEDC3363}"/>
              </a:ext>
            </a:extLst>
          </p:cNvPr>
          <p:cNvSpPr/>
          <p:nvPr/>
        </p:nvSpPr>
        <p:spPr>
          <a:xfrm>
            <a:off x="2111678" y="2281790"/>
            <a:ext cx="7093527" cy="923330"/>
          </a:xfrm>
          <a:prstGeom prst="rect">
            <a:avLst/>
          </a:prstGeom>
          <a:solidFill>
            <a:schemeClr val="bg1"/>
          </a:solidFill>
          <a:ln w="28575">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ddress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9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ddress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910'</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ddress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N'910'</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p:txBody>
      </p:sp>
      <p:pic>
        <p:nvPicPr>
          <p:cNvPr id="8" name="Picture 7">
            <a:extLst>
              <a:ext uri="{FF2B5EF4-FFF2-40B4-BE49-F238E27FC236}">
                <a16:creationId xmlns:a16="http://schemas.microsoft.com/office/drawing/2014/main" id="{DB748B03-557A-4E27-8803-46A7E3DB0476}"/>
              </a:ext>
            </a:extLst>
          </p:cNvPr>
          <p:cNvPicPr>
            <a:picLocks noChangeAspect="1"/>
          </p:cNvPicPr>
          <p:nvPr/>
        </p:nvPicPr>
        <p:blipFill>
          <a:blip r:embed="rId3"/>
          <a:stretch>
            <a:fillRect/>
          </a:stretch>
        </p:blipFill>
        <p:spPr>
          <a:xfrm>
            <a:off x="886212" y="3551558"/>
            <a:ext cx="10097909" cy="838317"/>
          </a:xfrm>
          <a:prstGeom prst="rect">
            <a:avLst/>
          </a:prstGeom>
          <a:ln w="28575">
            <a:solidFill>
              <a:schemeClr val="tx1"/>
            </a:solidFill>
          </a:ln>
        </p:spPr>
      </p:pic>
    </p:spTree>
    <p:extLst>
      <p:ext uri="{BB962C8B-B14F-4D97-AF65-F5344CB8AC3E}">
        <p14:creationId xmlns:p14="http://schemas.microsoft.com/office/powerpoint/2010/main" val="190933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721D9-C107-4D5A-B48B-B992621FADC7}"/>
              </a:ext>
            </a:extLst>
          </p:cNvPr>
          <p:cNvSpPr>
            <a:spLocks noGrp="1"/>
          </p:cNvSpPr>
          <p:nvPr>
            <p:ph type="title"/>
          </p:nvPr>
        </p:nvSpPr>
        <p:spPr>
          <a:xfrm>
            <a:off x="655638" y="287383"/>
            <a:ext cx="10880725" cy="461665"/>
          </a:xfrm>
        </p:spPr>
        <p:txBody>
          <a:bodyPr/>
          <a:lstStyle/>
          <a:p>
            <a:r>
              <a:rPr lang="en-US" dirty="0"/>
              <a:t>Cache Plan Bloat	</a:t>
            </a:r>
          </a:p>
        </p:txBody>
      </p:sp>
      <p:sp>
        <p:nvSpPr>
          <p:cNvPr id="3" name="Subtitle 2">
            <a:extLst>
              <a:ext uri="{FF2B5EF4-FFF2-40B4-BE49-F238E27FC236}">
                <a16:creationId xmlns:a16="http://schemas.microsoft.com/office/drawing/2014/main" id="{76D68A99-F73F-4DA3-A076-996FB915B73C}"/>
              </a:ext>
            </a:extLst>
          </p:cNvPr>
          <p:cNvSpPr>
            <a:spLocks noGrp="1"/>
          </p:cNvSpPr>
          <p:nvPr>
            <p:ph type="subTitle" idx="1"/>
          </p:nvPr>
        </p:nvSpPr>
        <p:spPr/>
        <p:txBody>
          <a:bodyPr/>
          <a:lstStyle/>
          <a:p>
            <a:r>
              <a:rPr lang="en-US" dirty="0"/>
              <a:t>Caused by </a:t>
            </a:r>
            <a:r>
              <a:rPr lang="en-US" i="1" dirty="0"/>
              <a:t>ad hoc </a:t>
            </a:r>
            <a:r>
              <a:rPr lang="en-US" dirty="0"/>
              <a:t>SQL</a:t>
            </a:r>
          </a:p>
        </p:txBody>
      </p:sp>
      <p:graphicFrame>
        <p:nvGraphicFramePr>
          <p:cNvPr id="6" name="Content Placeholder 5">
            <a:extLst>
              <a:ext uri="{FF2B5EF4-FFF2-40B4-BE49-F238E27FC236}">
                <a16:creationId xmlns:a16="http://schemas.microsoft.com/office/drawing/2014/main" id="{59048E88-1954-41B7-8B8B-D2ABDC6142D2}"/>
              </a:ext>
            </a:extLst>
          </p:cNvPr>
          <p:cNvGraphicFramePr>
            <a:graphicFrameLocks noGrp="1"/>
          </p:cNvGraphicFramePr>
          <p:nvPr>
            <p:ph sz="quarter" idx="13"/>
          </p:nvPr>
        </p:nvGraphicFramePr>
        <p:xfrm>
          <a:off x="655638" y="1408114"/>
          <a:ext cx="10880726" cy="2630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1092128-01F3-42D3-93C4-DCA71C6446E4}"/>
              </a:ext>
            </a:extLst>
          </p:cNvPr>
          <p:cNvSpPr/>
          <p:nvPr/>
        </p:nvSpPr>
        <p:spPr>
          <a:xfrm>
            <a:off x="463732" y="4441882"/>
            <a:ext cx="11197813" cy="1815882"/>
          </a:xfrm>
          <a:prstGeom prst="rect">
            <a:avLst/>
          </a:prstGeom>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Plan cache contents and memory use by object type</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objtyp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COUNT_BIG</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lan_coun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CA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ize_in_bytes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ECIMAL</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2</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2</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024</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024</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ize_mb</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AVG</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usecount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vg_use_count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usecount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ingle_use_plan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CAST</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A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usecounts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HE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ize_in_bytes</a:t>
            </a:r>
            <a:endPar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ELS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0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ND</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ECIMAL</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2</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2</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024</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024</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ingle_use_m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sy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FF00"/>
                </a:solidFill>
                <a:effectLst/>
                <a:uLnTx/>
                <a:uFillTx/>
                <a:latin typeface="Consolas" panose="020B0609020204030204" pitchFamily="49" charset="0"/>
                <a:ea typeface="+mn-ea"/>
                <a:cs typeface="+mn-cs"/>
              </a:rPr>
              <a:t>dm_exec_cached_plans</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acheobjtype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N'Compiled Plan'</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ROUP</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objtype</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p:txBody>
      </p:sp>
      <p:pic>
        <p:nvPicPr>
          <p:cNvPr id="4" name="Picture 3">
            <a:extLst>
              <a:ext uri="{FF2B5EF4-FFF2-40B4-BE49-F238E27FC236}">
                <a16:creationId xmlns:a16="http://schemas.microsoft.com/office/drawing/2014/main" id="{5A443D6D-629C-44F9-B99E-C243CEF49901}"/>
              </a:ext>
            </a:extLst>
          </p:cNvPr>
          <p:cNvPicPr>
            <a:picLocks noChangeAspect="1"/>
          </p:cNvPicPr>
          <p:nvPr/>
        </p:nvPicPr>
        <p:blipFill>
          <a:blip r:embed="rId8"/>
          <a:stretch>
            <a:fillRect/>
          </a:stretch>
        </p:blipFill>
        <p:spPr>
          <a:xfrm>
            <a:off x="2299738" y="4582953"/>
            <a:ext cx="7525800" cy="1533739"/>
          </a:xfrm>
          <a:prstGeom prst="rect">
            <a:avLst/>
          </a:prstGeom>
          <a:ln>
            <a:solidFill>
              <a:schemeClr val="tx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B0E341EA-D4E6-4053-8323-3834AD9A6B5E}"/>
              </a:ext>
            </a:extLst>
          </p:cNvPr>
          <p:cNvSpPr txBox="1"/>
          <p:nvPr/>
        </p:nvSpPr>
        <p:spPr>
          <a:xfrm>
            <a:off x="3330324" y="4940882"/>
            <a:ext cx="5464628" cy="861774"/>
          </a:xfrm>
          <a:prstGeom prst="rect">
            <a:avLst/>
          </a:prstGeom>
          <a:solidFill>
            <a:schemeClr val="bg1"/>
          </a:solidFill>
          <a:ln>
            <a:solidFill>
              <a:schemeClr val="accent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EXEC</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0000"/>
                </a:solidFill>
                <a:effectLst/>
                <a:uLnTx/>
                <a:uFillTx/>
                <a:latin typeface="Consolas" panose="020B0609020204030204" pitchFamily="49" charset="0"/>
                <a:ea typeface="+mn-ea"/>
                <a:cs typeface="+mn-cs"/>
              </a:rPr>
              <a:t>sp_configure</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optimize for ad hoc workload'</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O</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RECONFIGURE</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O</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1267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always the be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83B01"/>
                </a:solidFill>
                <a:effectLst/>
                <a:uLnTx/>
                <a:uFillTx/>
                <a:latin typeface="Segoe UI"/>
                <a:ea typeface="+mn-ea"/>
                <a:cs typeface="+mn-cs"/>
              </a:rPr>
              <a:t>Performance impact as new plans are compiled</a:t>
            </a:r>
          </a:p>
        </p:txBody>
      </p:sp>
    </p:spTree>
    <p:extLst>
      <p:ext uri="{BB962C8B-B14F-4D97-AF65-F5344CB8AC3E}">
        <p14:creationId xmlns:p14="http://schemas.microsoft.com/office/powerpoint/2010/main" val="41570093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your fir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83B01"/>
                </a:solidFill>
                <a:effectLst/>
                <a:uLnTx/>
                <a:uFillTx/>
                <a:latin typeface="Segoe UI"/>
                <a:ea typeface="+mn-ea"/>
                <a:cs typeface="+mn-cs"/>
              </a:rPr>
              <a:t>Performance impact as new plans are compiled</a:t>
            </a:r>
          </a:p>
        </p:txBody>
      </p:sp>
      <p:pic>
        <p:nvPicPr>
          <p:cNvPr id="13" name="Picture 12">
            <a:extLst>
              <a:ext uri="{FF2B5EF4-FFF2-40B4-BE49-F238E27FC236}">
                <a16:creationId xmlns:a16="http://schemas.microsoft.com/office/drawing/2014/main" id="{F1D86874-F8F6-4823-9AC3-317E43B2F78E}"/>
              </a:ext>
            </a:extLst>
          </p:cNvPr>
          <p:cNvPicPr>
            <a:picLocks noChangeAspect="1"/>
          </p:cNvPicPr>
          <p:nvPr/>
        </p:nvPicPr>
        <p:blipFill>
          <a:blip r:embed="rId8"/>
          <a:stretch>
            <a:fillRect/>
          </a:stretch>
        </p:blipFill>
        <p:spPr>
          <a:xfrm>
            <a:off x="712384" y="1291685"/>
            <a:ext cx="11336332" cy="5258534"/>
          </a:xfrm>
          <a:prstGeom prst="rect">
            <a:avLst/>
          </a:prstGeom>
        </p:spPr>
      </p:pic>
      <p:pic>
        <p:nvPicPr>
          <p:cNvPr id="9" name="Picture 8">
            <a:extLst>
              <a:ext uri="{FF2B5EF4-FFF2-40B4-BE49-F238E27FC236}">
                <a16:creationId xmlns:a16="http://schemas.microsoft.com/office/drawing/2014/main" id="{4BB503AD-583B-4733-93A8-E3CD01E814D0}"/>
              </a:ext>
            </a:extLst>
          </p:cNvPr>
          <p:cNvPicPr>
            <a:picLocks noChangeAspect="1"/>
          </p:cNvPicPr>
          <p:nvPr/>
        </p:nvPicPr>
        <p:blipFill>
          <a:blip r:embed="rId9"/>
          <a:stretch>
            <a:fillRect/>
          </a:stretch>
        </p:blipFill>
        <p:spPr>
          <a:xfrm>
            <a:off x="617122" y="1291685"/>
            <a:ext cx="8773749" cy="4991797"/>
          </a:xfrm>
          <a:prstGeom prst="rect">
            <a:avLst/>
          </a:prstGeom>
        </p:spPr>
      </p:pic>
      <p:pic>
        <p:nvPicPr>
          <p:cNvPr id="10" name="Picture 9">
            <a:extLst>
              <a:ext uri="{FF2B5EF4-FFF2-40B4-BE49-F238E27FC236}">
                <a16:creationId xmlns:a16="http://schemas.microsoft.com/office/drawing/2014/main" id="{357188B9-A1B1-4144-AD87-829ED89D47FB}"/>
              </a:ext>
            </a:extLst>
          </p:cNvPr>
          <p:cNvPicPr>
            <a:picLocks noChangeAspect="1"/>
          </p:cNvPicPr>
          <p:nvPr/>
        </p:nvPicPr>
        <p:blipFill rotWithShape="1">
          <a:blip r:embed="rId10"/>
          <a:srcRect b="24726"/>
          <a:stretch/>
        </p:blipFill>
        <p:spPr>
          <a:xfrm>
            <a:off x="721911" y="1282481"/>
            <a:ext cx="11317279" cy="4539132"/>
          </a:xfrm>
          <a:prstGeom prst="rect">
            <a:avLst/>
          </a:prstGeom>
        </p:spPr>
      </p:pic>
      <p:pic>
        <p:nvPicPr>
          <p:cNvPr id="11" name="Picture 10">
            <a:extLst>
              <a:ext uri="{FF2B5EF4-FFF2-40B4-BE49-F238E27FC236}">
                <a16:creationId xmlns:a16="http://schemas.microsoft.com/office/drawing/2014/main" id="{8470BF62-8AEC-4B10-9047-CD3B1FCA20FB}"/>
              </a:ext>
            </a:extLst>
          </p:cNvPr>
          <p:cNvPicPr>
            <a:picLocks noChangeAspect="1"/>
          </p:cNvPicPr>
          <p:nvPr/>
        </p:nvPicPr>
        <p:blipFill>
          <a:blip r:embed="rId11"/>
          <a:stretch>
            <a:fillRect/>
          </a:stretch>
        </p:blipFill>
        <p:spPr>
          <a:xfrm>
            <a:off x="655227" y="1291685"/>
            <a:ext cx="11345858" cy="4124901"/>
          </a:xfrm>
          <a:prstGeom prst="rect">
            <a:avLst/>
          </a:prstGeom>
        </p:spPr>
      </p:pic>
      <p:pic>
        <p:nvPicPr>
          <p:cNvPr id="12" name="Picture 11">
            <a:extLst>
              <a:ext uri="{FF2B5EF4-FFF2-40B4-BE49-F238E27FC236}">
                <a16:creationId xmlns:a16="http://schemas.microsoft.com/office/drawing/2014/main" id="{16ED6B3F-2F5E-4E48-9074-FDEA740AB14B}"/>
              </a:ext>
            </a:extLst>
          </p:cNvPr>
          <p:cNvPicPr>
            <a:picLocks noChangeAspect="1"/>
          </p:cNvPicPr>
          <p:nvPr/>
        </p:nvPicPr>
        <p:blipFill>
          <a:blip r:embed="rId12"/>
          <a:stretch>
            <a:fillRect/>
          </a:stretch>
        </p:blipFill>
        <p:spPr>
          <a:xfrm>
            <a:off x="579017" y="1287007"/>
            <a:ext cx="11269648" cy="4925112"/>
          </a:xfrm>
          <a:prstGeom prst="rect">
            <a:avLst/>
          </a:prstGeom>
        </p:spPr>
      </p:pic>
    </p:spTree>
    <p:extLst>
      <p:ext uri="{BB962C8B-B14F-4D97-AF65-F5344CB8AC3E}">
        <p14:creationId xmlns:p14="http://schemas.microsoft.com/office/powerpoint/2010/main" val="8902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6" name="Content Placeholder 5">
            <a:extLst>
              <a:ext uri="{FF2B5EF4-FFF2-40B4-BE49-F238E27FC236}">
                <a16:creationId xmlns:a16="http://schemas.microsoft.com/office/drawing/2014/main" id="{2217EB35-CC23-4C14-A610-AB5118F33063}"/>
              </a:ext>
            </a:extLst>
          </p:cNvPr>
          <p:cNvGraphicFramePr>
            <a:graphicFrameLocks noGrp="1"/>
          </p:cNvGraphicFramePr>
          <p:nvPr>
            <p:ph sz="quarter" idx="13"/>
          </p:nvPr>
        </p:nvGraphicFramePr>
        <p:xfrm>
          <a:off x="655638" y="1169581"/>
          <a:ext cx="10880726" cy="2945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D5971169-0E16-4CF3-AC99-B2B168A60E27}"/>
              </a:ext>
            </a:extLst>
          </p:cNvPr>
          <p:cNvSpPr/>
          <p:nvPr/>
        </p:nvSpPr>
        <p:spPr>
          <a:xfrm>
            <a:off x="2819399" y="4434223"/>
            <a:ext cx="6553200" cy="2031325"/>
          </a:xfrm>
          <a:prstGeom prst="rect">
            <a:avLst/>
          </a:prstGeom>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Small changes in case or white space yield differing hashes</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HASHBYTE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MD5'</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ELECT * FROM Person.Person'</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NIO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LL</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HASHBYTE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MD5'</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ELECT * FROM </a:t>
            </a:r>
            <a:r>
              <a:rPr kumimoji="0" lang="en-US" sz="1400" b="0" i="0" u="none" strike="noStrike" kern="1200" cap="none" spc="0" normalizeH="0" baseline="0" noProof="0" dirty="0">
                <a:ln>
                  <a:noFill/>
                </a:ln>
                <a:solidFill>
                  <a:srgbClr val="FF0000"/>
                </a:solidFill>
                <a:effectLst/>
                <a:highlight>
                  <a:srgbClr val="00FF00"/>
                </a:highlight>
                <a:uLnTx/>
                <a:uFillTx/>
                <a:latin typeface="Consolas" panose="020B0609020204030204" pitchFamily="49" charset="0"/>
                <a:ea typeface="+mn-ea"/>
                <a:cs typeface="+mn-cs"/>
              </a:rPr>
              <a:t>p</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erson.Person'</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NION</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LL</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HASHBYTES</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MD5'</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ELECT * </a:t>
            </a:r>
            <a:r>
              <a:rPr kumimoji="0" lang="en-US" sz="1400" b="0" i="0" u="none" strike="noStrike" kern="1200" cap="none" spc="0" normalizeH="0" baseline="0" noProof="0" dirty="0">
                <a:ln>
                  <a:noFill/>
                </a:ln>
                <a:solidFill>
                  <a:srgbClr val="FF0000"/>
                </a:solidFill>
                <a:effectLst/>
                <a:highlight>
                  <a:srgbClr val="00FF00"/>
                </a:highlight>
                <a:uLnTx/>
                <a:uFillTx/>
                <a:latin typeface="Consolas" panose="020B0609020204030204" pitchFamily="49" charset="0"/>
                <a:ea typeface="+mn-ea"/>
                <a:cs typeface="+mn-cs"/>
              </a:rPr>
              <a:t>  </a:t>
            </a:r>
            <a:r>
              <a:rPr kumimoji="0" lang="en-US" sz="14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FROM Person.Person'</a:t>
            </a:r>
            <a:r>
              <a:rPr kumimoji="0" lang="en-US" sz="1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0xF2D4F28DA93156A5BB487B019F1F0191</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0x76F700BB3DC09FF482E1E4A77C7392E8</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0xB1D875A858F4D410D9E866C40E523683</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38777974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44B17301-66B9-46C5-B710-C2BFBFF70B60}"/>
              </a:ext>
            </a:extLst>
          </p:cNvPr>
          <p:cNvGraphicFramePr>
            <a:graphicFrameLocks noGrp="1"/>
          </p:cNvGraphicFramePr>
          <p:nvPr>
            <p:ph sz="quarter" idx="13"/>
          </p:nvPr>
        </p:nvGraphicFramePr>
        <p:xfrm>
          <a:off x="609600" y="1408115"/>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4">
            <a:extLst>
              <a:ext uri="{FF2B5EF4-FFF2-40B4-BE49-F238E27FC236}">
                <a16:creationId xmlns:a16="http://schemas.microsoft.com/office/drawing/2014/main" id="{403E7EC3-3214-4E4B-8924-AB1CB1A79B74}"/>
              </a:ext>
            </a:extLst>
          </p:cNvPr>
          <p:cNvGraphicFramePr>
            <a:graphicFrameLocks/>
          </p:cNvGraphicFramePr>
          <p:nvPr/>
        </p:nvGraphicFramePr>
        <p:xfrm>
          <a:off x="609600" y="3589069"/>
          <a:ext cx="10880726" cy="32689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989963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wrap="square" anchor="t">
            <a:normAutofit/>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505857" y="1408113"/>
            <a:ext cx="9180287"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R</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4"/>
                </a:solidFill>
                <a:effectLst/>
                <a:uLnTx/>
                <a:uFillTx/>
                <a:latin typeface="Segoe UI"/>
                <a:ea typeface="+mn-ea"/>
                <a:cs typeface="+mn-cs"/>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6A8E"/>
                  </a:solidFill>
                  <a:effectLst/>
                  <a:uLnTx/>
                  <a:uFillTx/>
                  <a:latin typeface="Segoe UI"/>
                  <a:ea typeface="+mn-ea"/>
                  <a:cs typeface="+mn-cs"/>
                </a:rPr>
                <a:t>First Exec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6A8E"/>
                  </a:solidFill>
                  <a:effectLst/>
                  <a:uLnTx/>
                  <a:uFillTx/>
                  <a:latin typeface="Segoe UI"/>
                  <a:ea typeface="+mn-ea"/>
                  <a:cs typeface="+mn-cs"/>
                </a:rPr>
                <a:t>  or Recompile</a:t>
              </a:r>
            </a:p>
          </p:txBody>
        </p:sp>
      </p:grpSp>
    </p:spTree>
    <p:extLst>
      <p:ext uri="{BB962C8B-B14F-4D97-AF65-F5344CB8AC3E}">
        <p14:creationId xmlns:p14="http://schemas.microsoft.com/office/powerpoint/2010/main" val="95240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4: SQL Server Query Store </a:t>
            </a:r>
          </a:p>
        </p:txBody>
      </p:sp>
    </p:spTree>
    <p:extLst>
      <p:ext uri="{BB962C8B-B14F-4D97-AF65-F5344CB8AC3E}">
        <p14:creationId xmlns:p14="http://schemas.microsoft.com/office/powerpoint/2010/main" val="2894004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70529796-8FCE-4C02-79E5-814C66F8B6BD}"/>
              </a:ext>
            </a:extLst>
          </p:cNvPr>
          <p:cNvGraphicFramePr/>
          <p:nvPr/>
        </p:nvGraphicFramePr>
        <p:xfrm>
          <a:off x="6179129" y="1125128"/>
          <a:ext cx="5826760" cy="5161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269238" y="174885"/>
            <a:ext cx="10972800" cy="461665"/>
          </a:xfrm>
        </p:spPr>
        <p:txBody>
          <a:bodyPr/>
          <a:lstStyle/>
          <a:p>
            <a:r>
              <a:rPr lang="en-US" sz="3200" dirty="0"/>
              <a:t>Introducing the Query Store</a:t>
            </a:r>
          </a:p>
        </p:txBody>
      </p:sp>
      <p:pic>
        <p:nvPicPr>
          <p:cNvPr id="7" name="Picture 6" descr="A screenshot of a cell phone&#10;&#10;Description automatically generated">
            <a:extLst>
              <a:ext uri="{FF2B5EF4-FFF2-40B4-BE49-F238E27FC236}">
                <a16:creationId xmlns:a16="http://schemas.microsoft.com/office/drawing/2014/main" id="{D4718533-9C51-4AD3-81C0-3008AC8ABF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7127" y="1007642"/>
            <a:ext cx="5545558" cy="5064389"/>
          </a:xfrm>
          <a:prstGeom prst="snip2DiagRect">
            <a:avLst/>
          </a:prstGeom>
          <a:solidFill>
            <a:srgbClr val="FFFFFF">
              <a:shade val="85000"/>
            </a:srgbClr>
          </a:solidFill>
          <a:ln w="88900" cap="sq">
            <a:solidFill>
              <a:srgbClr val="FFFFFF"/>
            </a:solidFill>
            <a:miter lim="800000"/>
          </a:ln>
          <a:effectLst>
            <a:outerShdw blurRad="50800" dist="38100" dir="10800000" algn="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10208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A56CE9E-CED6-482C-B429-412AE104EF8C}"/>
              </a:ext>
            </a:extLst>
          </p:cNvPr>
          <p:cNvGraphicFramePr/>
          <p:nvPr>
            <p:extLst>
              <p:ext uri="{D42A27DB-BD31-4B8C-83A1-F6EECF244321}">
                <p14:modId xmlns:p14="http://schemas.microsoft.com/office/powerpoint/2010/main" val="4082533535"/>
              </p:ext>
            </p:extLst>
          </p:nvPr>
        </p:nvGraphicFramePr>
        <p:xfrm>
          <a:off x="535529" y="905164"/>
          <a:ext cx="11199271" cy="5389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Why use Query Store?</a:t>
            </a:r>
          </a:p>
        </p:txBody>
      </p:sp>
    </p:spTree>
    <p:extLst>
      <p:ext uri="{BB962C8B-B14F-4D97-AF65-F5344CB8AC3E}">
        <p14:creationId xmlns:p14="http://schemas.microsoft.com/office/powerpoint/2010/main" val="875961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81126" y="201797"/>
            <a:ext cx="10972800" cy="474041"/>
          </a:xfrm>
        </p:spPr>
        <p:txBody>
          <a:bodyPr/>
          <a:lstStyle/>
          <a:p>
            <a:r>
              <a:rPr lang="en-US" sz="3200" dirty="0"/>
              <a:t>Query</a:t>
            </a:r>
            <a:r>
              <a:rPr lang="en-US" dirty="0"/>
              <a:t> </a:t>
            </a:r>
            <a:r>
              <a:rPr lang="en-US" sz="3200" dirty="0"/>
              <a:t>Store</a:t>
            </a:r>
            <a:r>
              <a:rPr lang="en-US" dirty="0"/>
              <a:t> </a:t>
            </a:r>
            <a:r>
              <a:rPr lang="en-US" sz="3200" dirty="0"/>
              <a:t>Operation</a:t>
            </a:r>
            <a:r>
              <a:rPr lang="en-US" dirty="0"/>
              <a:t> </a:t>
            </a:r>
            <a:r>
              <a:rPr lang="en-US" sz="3200" dirty="0"/>
              <a:t>Modes</a:t>
            </a:r>
          </a:p>
        </p:txBody>
      </p:sp>
      <p:pic>
        <p:nvPicPr>
          <p:cNvPr id="6" name="Picture 5">
            <a:extLst>
              <a:ext uri="{FF2B5EF4-FFF2-40B4-BE49-F238E27FC236}">
                <a16:creationId xmlns:a16="http://schemas.microsoft.com/office/drawing/2014/main" id="{F1E8043F-9EB1-4FC2-8383-30CE67115D40}"/>
              </a:ext>
            </a:extLst>
          </p:cNvPr>
          <p:cNvPicPr>
            <a:picLocks noChangeAspect="1"/>
          </p:cNvPicPr>
          <p:nvPr/>
        </p:nvPicPr>
        <p:blipFill>
          <a:blip r:embed="rId2"/>
          <a:stretch>
            <a:fillRect/>
          </a:stretch>
        </p:blipFill>
        <p:spPr>
          <a:xfrm>
            <a:off x="505808" y="1777401"/>
            <a:ext cx="5752059" cy="1335299"/>
          </a:xfrm>
          <a:prstGeom prst="rect">
            <a:avLst/>
          </a:prstGeom>
        </p:spPr>
      </p:pic>
      <p:pic>
        <p:nvPicPr>
          <p:cNvPr id="7" name="Picture 6">
            <a:extLst>
              <a:ext uri="{FF2B5EF4-FFF2-40B4-BE49-F238E27FC236}">
                <a16:creationId xmlns:a16="http://schemas.microsoft.com/office/drawing/2014/main" id="{50306DDA-4A2A-4A00-A1EF-62257E44436E}"/>
              </a:ext>
            </a:extLst>
          </p:cNvPr>
          <p:cNvPicPr>
            <a:picLocks noChangeAspect="1"/>
          </p:cNvPicPr>
          <p:nvPr/>
        </p:nvPicPr>
        <p:blipFill>
          <a:blip r:embed="rId3"/>
          <a:stretch>
            <a:fillRect/>
          </a:stretch>
        </p:blipFill>
        <p:spPr>
          <a:xfrm>
            <a:off x="505808" y="4869637"/>
            <a:ext cx="7274114" cy="457550"/>
          </a:xfrm>
          <a:prstGeom prst="rect">
            <a:avLst/>
          </a:prstGeom>
        </p:spPr>
      </p:pic>
      <p:sp>
        <p:nvSpPr>
          <p:cNvPr id="8" name="Text Placeholder 4">
            <a:extLst>
              <a:ext uri="{FF2B5EF4-FFF2-40B4-BE49-F238E27FC236}">
                <a16:creationId xmlns:a16="http://schemas.microsoft.com/office/drawing/2014/main" id="{B0B18559-20C6-45CA-8BBF-D4DB5CD3F376}"/>
              </a:ext>
            </a:extLst>
          </p:cNvPr>
          <p:cNvSpPr txBox="1">
            <a:spLocks/>
          </p:cNvSpPr>
          <p:nvPr/>
        </p:nvSpPr>
        <p:spPr>
          <a:xfrm>
            <a:off x="368017" y="105525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set under database properties</a:t>
            </a:r>
          </a:p>
        </p:txBody>
      </p:sp>
      <p:sp>
        <p:nvSpPr>
          <p:cNvPr id="9" name="Text Placeholder 4">
            <a:extLst>
              <a:ext uri="{FF2B5EF4-FFF2-40B4-BE49-F238E27FC236}">
                <a16:creationId xmlns:a16="http://schemas.microsoft.com/office/drawing/2014/main" id="{A2836666-3BC2-4791-BDBF-0B05627B21E4}"/>
              </a:ext>
            </a:extLst>
          </p:cNvPr>
          <p:cNvSpPr txBox="1">
            <a:spLocks/>
          </p:cNvSpPr>
          <p:nvPr/>
        </p:nvSpPr>
        <p:spPr>
          <a:xfrm>
            <a:off x="368017" y="3289114"/>
            <a:ext cx="11651870" cy="10988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enabled two ways using T-SQL. If only using the ON option, the Mode defaults to </a:t>
            </a:r>
            <a:r>
              <a:rPr kumimoji="0" lang="en-US" sz="3529" b="1" i="0" u="none" strike="noStrike" kern="1200" cap="none" spc="0" normalizeH="0" baseline="0" noProof="0" dirty="0">
                <a:ln>
                  <a:noFill/>
                </a:ln>
                <a:solidFill>
                  <a:srgbClr val="000000"/>
                </a:solidFill>
                <a:effectLst/>
                <a:uLnTx/>
                <a:uFillTx/>
                <a:latin typeface="Segoe UI"/>
                <a:ea typeface="+mn-ea"/>
                <a:cs typeface="+mn-cs"/>
              </a:rPr>
              <a:t>Read_Write</a:t>
            </a:r>
          </a:p>
        </p:txBody>
      </p:sp>
      <p:pic>
        <p:nvPicPr>
          <p:cNvPr id="10" name="Picture 9">
            <a:extLst>
              <a:ext uri="{FF2B5EF4-FFF2-40B4-BE49-F238E27FC236}">
                <a16:creationId xmlns:a16="http://schemas.microsoft.com/office/drawing/2014/main" id="{529BE97B-295B-4057-B362-A5AEEE5D3A1A}"/>
              </a:ext>
            </a:extLst>
          </p:cNvPr>
          <p:cNvPicPr>
            <a:picLocks noChangeAspect="1"/>
          </p:cNvPicPr>
          <p:nvPr/>
        </p:nvPicPr>
        <p:blipFill>
          <a:blip r:embed="rId4"/>
          <a:stretch>
            <a:fillRect/>
          </a:stretch>
        </p:blipFill>
        <p:spPr>
          <a:xfrm>
            <a:off x="511112" y="5503601"/>
            <a:ext cx="6536431" cy="690994"/>
          </a:xfrm>
          <a:prstGeom prst="rect">
            <a:avLst/>
          </a:prstGeom>
        </p:spPr>
      </p:pic>
    </p:spTree>
    <p:extLst>
      <p:ext uri="{BB962C8B-B14F-4D97-AF65-F5344CB8AC3E}">
        <p14:creationId xmlns:p14="http://schemas.microsoft.com/office/powerpoint/2010/main" val="2798226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sp>
        <p:nvSpPr>
          <p:cNvPr id="11" name="Text Placeholder 4">
            <a:extLst>
              <a:ext uri="{FF2B5EF4-FFF2-40B4-BE49-F238E27FC236}">
                <a16:creationId xmlns:a16="http://schemas.microsoft.com/office/drawing/2014/main" id="{ED72539F-D00E-4617-9502-AF0D3E71D95D}"/>
              </a:ext>
            </a:extLst>
          </p:cNvPr>
          <p:cNvSpPr txBox="1">
            <a:spLocks/>
          </p:cNvSpPr>
          <p:nvPr/>
        </p:nvSpPr>
        <p:spPr>
          <a:xfrm>
            <a:off x="419469" y="121713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Data Flush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frequency at which data written to the query store is persisted to disk.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15 Minutes</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745"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594855" y="3617454"/>
            <a:ext cx="7002289" cy="747371"/>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3997569"/>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0C60B9-B32D-45BC-A3AC-EDE0D6E8D0DB}"/>
              </a:ext>
            </a:extLst>
          </p:cNvPr>
          <p:cNvGrpSpPr/>
          <p:nvPr/>
        </p:nvGrpSpPr>
        <p:grpSpPr>
          <a:xfrm>
            <a:off x="2785764" y="4609519"/>
            <a:ext cx="6620471" cy="1139207"/>
            <a:chOff x="2526773" y="4783788"/>
            <a:chExt cx="6753225" cy="1162050"/>
          </a:xfrm>
        </p:grpSpPr>
        <p:pic>
          <p:nvPicPr>
            <p:cNvPr id="16" name="Picture 15">
              <a:extLst>
                <a:ext uri="{FF2B5EF4-FFF2-40B4-BE49-F238E27FC236}">
                  <a16:creationId xmlns:a16="http://schemas.microsoft.com/office/drawing/2014/main" id="{4D9D0559-8E02-47AB-93DB-F80D9E330527}"/>
                </a:ext>
              </a:extLst>
            </p:cNvPr>
            <p:cNvPicPr>
              <a:picLocks noChangeAspect="1"/>
            </p:cNvPicPr>
            <p:nvPr/>
          </p:nvPicPr>
          <p:blipFill>
            <a:blip r:embed="rId3"/>
            <a:stretch>
              <a:fillRect/>
            </a:stretch>
          </p:blipFill>
          <p:spPr>
            <a:xfrm>
              <a:off x="2526773" y="4783788"/>
              <a:ext cx="6753225" cy="1162050"/>
            </a:xfrm>
            <a:prstGeom prst="rect">
              <a:avLst/>
            </a:prstGeom>
          </p:spPr>
        </p:pic>
        <p:sp>
          <p:nvSpPr>
            <p:cNvPr id="17" name="Rectangle 16">
              <a:extLst>
                <a:ext uri="{FF2B5EF4-FFF2-40B4-BE49-F238E27FC236}">
                  <a16:creationId xmlns:a16="http://schemas.microsoft.com/office/drawing/2014/main" id="{C08F8206-3F16-4122-B58B-77E6E00FF6BB}"/>
                </a:ext>
              </a:extLst>
            </p:cNvPr>
            <p:cNvSpPr/>
            <p:nvPr/>
          </p:nvSpPr>
          <p:spPr bwMode="auto">
            <a:xfrm>
              <a:off x="2559530" y="5514356"/>
              <a:ext cx="4268307" cy="345106"/>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38765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594855" y="3617454"/>
            <a:ext cx="7002289" cy="747371"/>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4242586"/>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0C60B9-B32D-45BC-A3AC-EDE0D6E8D0DB}"/>
              </a:ext>
            </a:extLst>
          </p:cNvPr>
          <p:cNvGrpSpPr/>
          <p:nvPr/>
        </p:nvGrpSpPr>
        <p:grpSpPr>
          <a:xfrm>
            <a:off x="2785764" y="4609519"/>
            <a:ext cx="6620471" cy="1139207"/>
            <a:chOff x="2526773" y="4783788"/>
            <a:chExt cx="6753225" cy="1162050"/>
          </a:xfrm>
        </p:grpSpPr>
        <p:pic>
          <p:nvPicPr>
            <p:cNvPr id="16" name="Picture 15">
              <a:extLst>
                <a:ext uri="{FF2B5EF4-FFF2-40B4-BE49-F238E27FC236}">
                  <a16:creationId xmlns:a16="http://schemas.microsoft.com/office/drawing/2014/main" id="{4D9D0559-8E02-47AB-93DB-F80D9E330527}"/>
                </a:ext>
              </a:extLst>
            </p:cNvPr>
            <p:cNvPicPr>
              <a:picLocks noChangeAspect="1"/>
            </p:cNvPicPr>
            <p:nvPr/>
          </p:nvPicPr>
          <p:blipFill>
            <a:blip r:embed="rId3"/>
            <a:stretch>
              <a:fillRect/>
            </a:stretch>
          </p:blipFill>
          <p:spPr>
            <a:xfrm>
              <a:off x="2526773" y="4783788"/>
              <a:ext cx="6753225" cy="1162050"/>
            </a:xfrm>
            <a:prstGeom prst="rect">
              <a:avLst/>
            </a:prstGeom>
          </p:spPr>
        </p:pic>
        <p:sp>
          <p:nvSpPr>
            <p:cNvPr id="17" name="Rectangle 16">
              <a:extLst>
                <a:ext uri="{FF2B5EF4-FFF2-40B4-BE49-F238E27FC236}">
                  <a16:creationId xmlns:a16="http://schemas.microsoft.com/office/drawing/2014/main" id="{C08F8206-3F16-4122-B58B-77E6E00FF6BB}"/>
                </a:ext>
              </a:extLst>
            </p:cNvPr>
            <p:cNvSpPr/>
            <p:nvPr/>
          </p:nvSpPr>
          <p:spPr bwMode="auto">
            <a:xfrm>
              <a:off x="2587796" y="5192260"/>
              <a:ext cx="4268307" cy="345106"/>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F26E5BDF-21D4-42F2-BC0C-DCD419763B12}"/>
              </a:ext>
            </a:extLst>
          </p:cNvPr>
          <p:cNvSpPr txBox="1">
            <a:spLocks/>
          </p:cNvSpPr>
          <p:nvPr/>
        </p:nvSpPr>
        <p:spPr>
          <a:xfrm>
            <a:off x="270892" y="95864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tatistics Collection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time interval at which runtime execution statistics data is aggregated into the query store. Only the values of 1, 5, 10, 15, 60, and 1440 minutes is allowed.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6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86931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60539" y="114907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Max Plans Per Query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and is an integer representing the maximum number of plans maintained for each query.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20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3863268"/>
                <a:ext cx="4707548" cy="35921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3828473"/>
              <a:ext cx="4707548" cy="31996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32798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202546"/>
                <a:ext cx="4707548" cy="31347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411057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55510D03-36E1-404B-9197-D6A98D340CB4}"/>
              </a:ext>
            </a:extLst>
          </p:cNvPr>
          <p:cNvSpPr txBox="1">
            <a:spLocks/>
          </p:cNvSpPr>
          <p:nvPr/>
        </p:nvSpPr>
        <p:spPr>
          <a:xfrm>
            <a:off x="315807" y="124306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Max Size (MB) </a:t>
            </a:r>
            <a:r>
              <a:rPr kumimoji="0" lang="en-US" sz="3921" b="0" i="0" u="none" strike="noStrike" kern="1200" cap="none" spc="0" normalizeH="0" baseline="0" noProof="0" dirty="0">
                <a:ln>
                  <a:noFill/>
                </a:ln>
                <a:solidFill>
                  <a:srgbClr val="000000"/>
                </a:solidFill>
                <a:effectLst/>
                <a:uLnTx/>
                <a:uFillTx/>
                <a:latin typeface="Segoe UI"/>
                <a:ea typeface="+mn-ea"/>
                <a:cs typeface="+mn-cs"/>
              </a:rPr>
              <a:t>configures the maximum storage size for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100MB</a:t>
            </a:r>
            <a:r>
              <a:rPr kumimoji="0" lang="en-US" sz="3921" b="0" i="0" u="none" strike="noStrike" kern="1200" cap="none" spc="0" normalizeH="0" baseline="0" noProof="0" dirty="0">
                <a:ln>
                  <a:noFill/>
                </a:ln>
                <a:solidFill>
                  <a:srgbClr val="000000"/>
                </a:solidFill>
                <a:effectLst/>
                <a:uLnTx/>
                <a:uFillTx/>
                <a:latin typeface="Segoe UI"/>
                <a:ea typeface="+mn-ea"/>
                <a:cs typeface="+mn-cs"/>
              </a:rPr>
              <a:t>) When the query store limit is reached, query store changes the state from read-write to read-only.</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93895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502727"/>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438259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33274495-50A2-4DC7-B5DD-A51EA39A8AAA}"/>
              </a:ext>
            </a:extLst>
          </p:cNvPr>
          <p:cNvSpPr txBox="1">
            <a:spLocks/>
          </p:cNvSpPr>
          <p:nvPr/>
        </p:nvSpPr>
        <p:spPr>
          <a:xfrm>
            <a:off x="347079" y="990727"/>
            <a:ext cx="11651870" cy="2566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Query Store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o capture all the queries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LL</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relevant queries based on execution count and resource consumption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stop capturing queries (</a:t>
            </a:r>
            <a:r>
              <a:rPr kumimoji="0" lang="en-US" sz="3600" b="1" i="0" u="none" strike="noStrike" kern="1200" cap="none" spc="0" normalizeH="0" baseline="0" noProof="0" dirty="0">
                <a:ln>
                  <a:noFill/>
                </a:ln>
                <a:solidFill>
                  <a:srgbClr val="000000"/>
                </a:solidFill>
                <a:effectLst/>
                <a:uLnTx/>
                <a:uFillTx/>
                <a:latin typeface="Segoe UI"/>
                <a:ea typeface="+mn-ea"/>
                <a:cs typeface="+mn-cs"/>
              </a:rPr>
              <a:t>NONE</a:t>
            </a:r>
            <a:r>
              <a:rPr kumimoji="0" lang="en-US" sz="3600" b="0" i="0" u="none" strike="noStrike" kern="1200" cap="none" spc="0" normalizeH="0" baseline="0" noProof="0" dirty="0">
                <a:ln>
                  <a:noFill/>
                </a:ln>
                <a:solidFill>
                  <a:srgbClr val="000000"/>
                </a:solidFill>
                <a:effectLst/>
                <a:uLnTx/>
                <a:uFillTx/>
                <a:latin typeface="Segoe UI"/>
                <a:ea typeface="+mn-ea"/>
                <a:cs typeface="+mn-cs"/>
              </a:rPr>
              <a:t>). SQL Server 2019 introduces an additional (</a:t>
            </a:r>
            <a:r>
              <a:rPr kumimoji="0" lang="en-US" sz="3600" b="1" i="0" u="none" strike="noStrike" kern="1200" cap="none" spc="0" normalizeH="0" baseline="0" noProof="0" dirty="0">
                <a:ln>
                  <a:noFill/>
                </a:ln>
                <a:solidFill>
                  <a:srgbClr val="000000"/>
                </a:solidFill>
                <a:effectLst/>
                <a:uLnTx/>
                <a:uFillTx/>
                <a:latin typeface="Segoe UI"/>
                <a:ea typeface="+mn-ea"/>
                <a:cs typeface="+mn-cs"/>
              </a:rPr>
              <a:t>CUSTOM</a:t>
            </a:r>
            <a:r>
              <a:rPr kumimoji="0" lang="en-US" sz="3600" b="0" i="0" u="none" strike="noStrike" kern="1200" cap="none" spc="0" normalizeH="0" baseline="0" noProof="0" dirty="0">
                <a:ln>
                  <a:noFill/>
                </a:ln>
                <a:solidFill>
                  <a:srgbClr val="000000"/>
                </a:solidFill>
                <a:effectLst/>
                <a:uLnTx/>
                <a:uFillTx/>
                <a:latin typeface="Segoe UI"/>
                <a:ea typeface="+mn-ea"/>
                <a:cs typeface="+mn-cs"/>
              </a:rPr>
              <a:t>) setting.</a:t>
            </a:r>
          </a:p>
        </p:txBody>
      </p:sp>
    </p:spTree>
    <p:extLst>
      <p:ext uri="{BB962C8B-B14F-4D97-AF65-F5344CB8AC3E}">
        <p14:creationId xmlns:p14="http://schemas.microsoft.com/office/powerpoint/2010/main" val="842309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4793672"/>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5" y="4626343"/>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C5854E9A-EEC0-4C3B-989B-251C107F9C81}"/>
              </a:ext>
            </a:extLst>
          </p:cNvPr>
          <p:cNvSpPr txBox="1">
            <a:spLocks/>
          </p:cNvSpPr>
          <p:nvPr/>
        </p:nvSpPr>
        <p:spPr>
          <a:xfrm>
            <a:off x="316687" y="120194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ize Based Cleanup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whether the cleanup process will be automatically activated when the total amount of data gets close to the maximum size.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65817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4400" b="0" i="0" u="none" strike="noStrike" kern="1200" cap="none" spc="0" normalizeH="0" baseline="0" noProof="0" dirty="0">
                <a:ln>
                  <a:noFill/>
                </a:ln>
                <a:solidFill>
                  <a:srgbClr val="2098D5">
                    <a:lumMod val="75000"/>
                  </a:srgbClr>
                </a:solidFill>
                <a:effectLst/>
                <a:uLnTx/>
                <a:uFillTx/>
                <a:latin typeface="Segoe UI"/>
                <a:ea typeface="+mj-ea"/>
                <a:cs typeface="Segoe UI Light"/>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112326"/>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4" y="4875724"/>
              <a:ext cx="62573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406721" y="131071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Stale Query Threshold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determines the number of days to retain data in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0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and Maximum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67 days</a:t>
            </a:r>
            <a:r>
              <a:rPr kumimoji="0" lang="en-US" sz="3921"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1844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421014"/>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5" y="5132536"/>
              <a:ext cx="3726629"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351303" y="12060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Wait Statistics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that controls if Query Store captures wait statistics information.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Default = </a:t>
            </a:r>
            <a:r>
              <a:rPr kumimoji="0" lang="en-US" sz="3600" b="1" i="0" u="none" strike="noStrike" kern="1200" cap="none" spc="0" normalizeH="0" baseline="0" noProof="0" dirty="0">
                <a:ln>
                  <a:noFill/>
                </a:ln>
                <a:solidFill>
                  <a:srgbClr val="000000"/>
                </a:solidFill>
                <a:effectLst/>
                <a:uLnTx/>
                <a:uFillTx/>
                <a:latin typeface="Segoe UI"/>
                <a:ea typeface="+mn-ea"/>
                <a:cs typeface="+mn-cs"/>
              </a:rPr>
              <a:t>ON</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p:txBody>
      </p:sp>
    </p:spTree>
    <p:extLst>
      <p:ext uri="{BB962C8B-B14F-4D97-AF65-F5344CB8AC3E}">
        <p14:creationId xmlns:p14="http://schemas.microsoft.com/office/powerpoint/2010/main" val="86381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200" b="1"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EXECUTION COUN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a query must exceed within the Stale Threshold 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2098" y="4413219"/>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394745"/>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683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can be from 1 hour up to 7 days. This setting specifies the time given to exceed the values of the three other settings for a query to be captured.</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6716" y="4685692"/>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5" y="4635578"/>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86750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Compile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15952" y="4981256"/>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879654"/>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86336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Execution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2098" y="526827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03627" y="5124031"/>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26717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3"/>
            <a:ext cx="10972800" cy="474041"/>
          </a:xfrm>
        </p:spPr>
        <p:txBody>
          <a:bodyPr/>
          <a:lstStyle/>
          <a:p>
            <a:r>
              <a:rPr lang="en-US" sz="3200" dirty="0"/>
              <a:t>Purge</a:t>
            </a:r>
            <a:r>
              <a:rPr lang="en-US" dirty="0"/>
              <a:t> </a:t>
            </a:r>
            <a:r>
              <a:rPr lang="en-US" sz="3200" dirty="0"/>
              <a:t>Query</a:t>
            </a:r>
            <a:r>
              <a:rPr lang="en-US" dirty="0"/>
              <a:t> </a:t>
            </a:r>
            <a:r>
              <a:rPr lang="en-US" sz="3200" dirty="0"/>
              <a:t>Data</a:t>
            </a:r>
          </a:p>
        </p:txBody>
      </p:sp>
      <p:pic>
        <p:nvPicPr>
          <p:cNvPr id="11" name="Picture 10">
            <a:extLst>
              <a:ext uri="{FF2B5EF4-FFF2-40B4-BE49-F238E27FC236}">
                <a16:creationId xmlns:a16="http://schemas.microsoft.com/office/drawing/2014/main" id="{AC8F1D11-605A-48F6-B8BB-B60B59686032}"/>
              </a:ext>
            </a:extLst>
          </p:cNvPr>
          <p:cNvPicPr>
            <a:picLocks noChangeAspect="1"/>
          </p:cNvPicPr>
          <p:nvPr/>
        </p:nvPicPr>
        <p:blipFill>
          <a:blip r:embed="rId2"/>
          <a:stretch>
            <a:fillRect/>
          </a:stretch>
        </p:blipFill>
        <p:spPr>
          <a:xfrm>
            <a:off x="568047" y="2329380"/>
            <a:ext cx="7407427" cy="3691649"/>
          </a:xfrm>
          <a:prstGeom prst="rect">
            <a:avLst/>
          </a:prstGeom>
          <a:ln>
            <a:noFill/>
          </a:ln>
          <a:effectLst>
            <a:outerShdw blurRad="190500" algn="tl" rotWithShape="0">
              <a:srgbClr val="000000">
                <a:alpha val="70000"/>
              </a:srgbClr>
            </a:outerShdw>
          </a:effectLst>
        </p:spPr>
      </p:pic>
      <p:sp>
        <p:nvSpPr>
          <p:cNvPr id="12" name="Text Placeholder 4">
            <a:extLst>
              <a:ext uri="{FF2B5EF4-FFF2-40B4-BE49-F238E27FC236}">
                <a16:creationId xmlns:a16="http://schemas.microsoft.com/office/drawing/2014/main" id="{5BD04553-5E17-4BA9-9138-48D4BBB63F12}"/>
              </a:ext>
            </a:extLst>
          </p:cNvPr>
          <p:cNvSpPr txBox="1">
            <a:spLocks/>
          </p:cNvSpPr>
          <p:nvPr/>
        </p:nvSpPr>
        <p:spPr>
          <a:xfrm>
            <a:off x="406721" y="1028683"/>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dirty="0">
                <a:ln>
                  <a:noFill/>
                </a:ln>
                <a:solidFill>
                  <a:srgbClr val="000000"/>
                </a:solidFill>
                <a:effectLst/>
                <a:uLnTx/>
                <a:uFillTx/>
                <a:latin typeface="Segoe UI"/>
                <a:ea typeface="+mn-ea"/>
                <a:cs typeface="+mn-cs"/>
              </a:rPr>
              <a:t>Data can be manually purged from the Query Stor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14E0F01-7E44-467E-AB07-B2E1A0C0E311}"/>
              </a:ext>
            </a:extLst>
          </p:cNvPr>
          <p:cNvGrpSpPr/>
          <p:nvPr/>
        </p:nvGrpSpPr>
        <p:grpSpPr>
          <a:xfrm>
            <a:off x="5348979" y="1834479"/>
            <a:ext cx="6200272" cy="971127"/>
            <a:chOff x="4846637" y="2354262"/>
            <a:chExt cx="6324600" cy="990600"/>
          </a:xfrm>
        </p:grpSpPr>
        <p:sp>
          <p:nvSpPr>
            <p:cNvPr id="14" name="Rectangle 13">
              <a:extLst>
                <a:ext uri="{FF2B5EF4-FFF2-40B4-BE49-F238E27FC236}">
                  <a16:creationId xmlns:a16="http://schemas.microsoft.com/office/drawing/2014/main" id="{A634E744-F130-46EF-97C6-CC2F39253B15}"/>
                </a:ext>
              </a:extLst>
            </p:cNvPr>
            <p:cNvSpPr/>
            <p:nvPr/>
          </p:nvSpPr>
          <p:spPr bwMode="auto">
            <a:xfrm>
              <a:off x="4846637" y="2354262"/>
              <a:ext cx="6324600" cy="9906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6B09D871-DF2C-4695-A07B-7B1FE1E521B2}"/>
                </a:ext>
              </a:extLst>
            </p:cNvPr>
            <p:cNvPicPr>
              <a:picLocks noChangeAspect="1"/>
            </p:cNvPicPr>
            <p:nvPr/>
          </p:nvPicPr>
          <p:blipFill>
            <a:blip r:embed="rId3"/>
            <a:stretch>
              <a:fillRect/>
            </a:stretch>
          </p:blipFill>
          <p:spPr>
            <a:xfrm>
              <a:off x="5132387" y="2659062"/>
              <a:ext cx="5734050" cy="400050"/>
            </a:xfrm>
            <a:prstGeom prst="rect">
              <a:avLst/>
            </a:prstGeom>
          </p:spPr>
        </p:pic>
      </p:grpSp>
      <p:cxnSp>
        <p:nvCxnSpPr>
          <p:cNvPr id="16" name="Connector: Elbow 15">
            <a:extLst>
              <a:ext uri="{FF2B5EF4-FFF2-40B4-BE49-F238E27FC236}">
                <a16:creationId xmlns:a16="http://schemas.microsoft.com/office/drawing/2014/main" id="{5CFB137B-8010-4508-A441-EC1B06D3923C}"/>
              </a:ext>
            </a:extLst>
          </p:cNvPr>
          <p:cNvCxnSpPr>
            <a:cxnSpLocks/>
          </p:cNvCxnSpPr>
          <p:nvPr/>
        </p:nvCxnSpPr>
        <p:spPr>
          <a:xfrm rot="5400000">
            <a:off x="7593061" y="2621043"/>
            <a:ext cx="3192579" cy="3049208"/>
          </a:xfrm>
          <a:prstGeom prst="bentConnector3">
            <a:avLst>
              <a:gd name="adj1" fmla="val 99677"/>
            </a:avLst>
          </a:prstGeom>
          <a:ln w="762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657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6" name="Text Placeholder 4">
            <a:extLst>
              <a:ext uri="{FF2B5EF4-FFF2-40B4-BE49-F238E27FC236}">
                <a16:creationId xmlns:a16="http://schemas.microsoft.com/office/drawing/2014/main" id="{E017A7EE-A48E-438B-8D76-1AF8823F5C3E}"/>
              </a:ext>
            </a:extLst>
          </p:cNvPr>
          <p:cNvSpPr txBox="1">
            <a:spLocks/>
          </p:cNvSpPr>
          <p:nvPr/>
        </p:nvSpPr>
        <p:spPr>
          <a:xfrm>
            <a:off x="406721" y="118793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588"/>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Regressed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review queries that might have regressed because of execution plan change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3512948"/>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1457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3900405"/>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89C1258D-94E7-401D-9140-E3879537D015}"/>
              </a:ext>
            </a:extLst>
          </p:cNvPr>
          <p:cNvSpPr txBox="1">
            <a:spLocks/>
          </p:cNvSpPr>
          <p:nvPr/>
        </p:nvSpPr>
        <p:spPr>
          <a:xfrm>
            <a:off x="429812" y="88343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588"/>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Overall Resource Consumption</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visualize overall resource consumption during the last month in four charts: duration, execution count, CPU time, and logical read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36088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4273941"/>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34C55DBC-70EA-47F3-9D08-460718F60209}"/>
              </a:ext>
            </a:extLst>
          </p:cNvPr>
          <p:cNvSpPr txBox="1">
            <a:spLocks/>
          </p:cNvSpPr>
          <p:nvPr/>
        </p:nvSpPr>
        <p:spPr>
          <a:xfrm>
            <a:off x="481109" y="91965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Top Resource Consuming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review queries in the set of top 25 resource consumers during the last hou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31045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563889"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accent4">
              <a:lumMod val="20000"/>
              <a:lumOff val="80000"/>
            </a:schemeClr>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ery Plan Created</a:t>
            </a:r>
            <a:endParaRPr kumimoji="0" lang="en-US" sz="16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36" name="Rectangle 35"/>
          <p:cNvSpPr/>
          <p:nvPr/>
        </p:nvSpPr>
        <p:spPr>
          <a:xfrm>
            <a:off x="882094" y="2669605"/>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ification and Statistics</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Triv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10" y="1569314"/>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e Query Tables &l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0.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Rectangle 188">
            <a:extLst>
              <a:ext uri="{FF2B5EF4-FFF2-40B4-BE49-F238E27FC236}">
                <a16:creationId xmlns:a16="http://schemas.microsoft.com/office/drawing/2014/main" id="{55EA44B2-AC6C-4A1E-8BA9-4D4384B3CE58}"/>
              </a:ext>
            </a:extLst>
          </p:cNvPr>
          <p:cNvSpPr/>
          <p:nvPr/>
        </p:nvSpPr>
        <p:spPr>
          <a:xfrm>
            <a:off x="6364832" y="3908048"/>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  MAXDOP =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gt; Cost Threshold for Parallelis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441024"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Segoe UI"/>
                  <a:ea typeface="+mn-ea"/>
                  <a:cs typeface="+mn-cs"/>
                </a:rPr>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mpare Plans and Full Optimization</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56333" y="4658408"/>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F70A457D-0A6A-45D8-9CF6-D11273FAEAB1}"/>
              </a:ext>
            </a:extLst>
          </p:cNvPr>
          <p:cNvSpPr txBox="1">
            <a:spLocks/>
          </p:cNvSpPr>
          <p:nvPr/>
        </p:nvSpPr>
        <p:spPr>
          <a:xfrm>
            <a:off x="327695" y="98606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Queries With Forced Plan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d to isolate queries that have been given a forced plan. Requires SQL Server 2016 SP1 or late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2618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56333" y="5074041"/>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1D9539-8809-47E5-AE56-7B69D76BC7A1}"/>
              </a:ext>
            </a:extLst>
          </p:cNvPr>
          <p:cNvSpPr txBox="1">
            <a:spLocks/>
          </p:cNvSpPr>
          <p:nvPr/>
        </p:nvSpPr>
        <p:spPr>
          <a:xfrm>
            <a:off x="406721" y="93704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Queries With High Variation</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d to locate queries with high variation in query execution. Useful to locate queries with parameterization problems. Requires SQL Server 2016 SP1 or late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60037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37860" y="5448114"/>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1D9539-8809-47E5-AE56-7B69D76BC7A1}"/>
              </a:ext>
            </a:extLst>
          </p:cNvPr>
          <p:cNvSpPr txBox="1">
            <a:spLocks/>
          </p:cNvSpPr>
          <p:nvPr/>
        </p:nvSpPr>
        <p:spPr>
          <a:xfrm>
            <a:off x="406721" y="93704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200" b="1" i="0" u="none" strike="noStrike" kern="1200" cap="none" spc="0" normalizeH="0" baseline="0" noProof="0" dirty="0">
                <a:ln>
                  <a:noFill/>
                </a:ln>
                <a:solidFill>
                  <a:srgbClr val="000000"/>
                </a:solidFill>
                <a:effectLst/>
                <a:uLnTx/>
                <a:uFillTx/>
                <a:latin typeface="Segoe UI"/>
                <a:ea typeface="+mn-ea"/>
                <a:cs typeface="+mn-cs"/>
              </a:rPr>
              <a:t>Query Wait Statistics </a:t>
            </a:r>
            <a:r>
              <a:rPr kumimoji="0" lang="en-US" sz="3200" b="0" i="0" u="none" strike="noStrike" kern="1200" cap="none" spc="0" normalizeH="0" baseline="0" noProof="0" dirty="0">
                <a:ln>
                  <a:noFill/>
                </a:ln>
                <a:solidFill>
                  <a:srgbClr val="000000"/>
                </a:solidFill>
                <a:effectLst/>
                <a:uLnTx/>
                <a:uFillTx/>
                <a:latin typeface="Segoe UI"/>
                <a:ea typeface="+mn-ea"/>
                <a:cs typeface="+mn-cs"/>
              </a:rPr>
              <a:t>shows a bar chart containing the top wait categories in the Query Store. Use the drop down at the top to select an aggregate criteria for the wait time: avg, max, min, std dev, and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a:t>
            </a:r>
            <a:r>
              <a:rPr kumimoji="0" lang="en-US" sz="3200" b="0" i="0" u="none" strike="noStrike" kern="1200" cap="none" spc="0" normalizeH="0" baseline="0" noProof="0" dirty="0">
                <a:ln>
                  <a:noFill/>
                </a:ln>
                <a:solidFill>
                  <a:srgbClr val="000000"/>
                </a:solidFill>
                <a:effectLst/>
                <a:uLnTx/>
                <a:uFillTx/>
                <a:latin typeface="Segoe UI"/>
                <a:ea typeface="+mn-ea"/>
                <a:cs typeface="+mn-cs"/>
              </a:rPr>
              <a:t> (default). </a:t>
            </a:r>
            <a:r>
              <a:rPr kumimoji="0" lang="en-GB" sz="3200" b="0" i="0" u="none" strike="noStrike" kern="1200" cap="none" spc="0" normalizeH="0" baseline="0" noProof="0" dirty="0">
                <a:ln>
                  <a:noFill/>
                </a:ln>
                <a:solidFill>
                  <a:srgbClr val="000000"/>
                </a:solidFill>
                <a:effectLst/>
                <a:uLnTx/>
                <a:uFillTx/>
                <a:latin typeface="Segoe UI"/>
                <a:ea typeface="+mn-ea"/>
                <a:cs typeface="+mn-cs"/>
              </a:rPr>
              <a:t>Requires SQL Server 2017.</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54301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689161" y="5812950"/>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89B30051-1443-4168-876F-6981B102E24C}"/>
              </a:ext>
            </a:extLst>
          </p:cNvPr>
          <p:cNvSpPr txBox="1">
            <a:spLocks/>
          </p:cNvSpPr>
          <p:nvPr/>
        </p:nvSpPr>
        <p:spPr>
          <a:xfrm>
            <a:off x="387823" y="113528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Tracked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monitor the execution plans and regression of a specify query</a:t>
            </a:r>
            <a:endParaRPr kumimoji="0" lang="en-US" sz="3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0547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585" y="201839"/>
            <a:ext cx="9337757" cy="474041"/>
          </a:xfrm>
        </p:spPr>
        <p:txBody>
          <a:bodyPr/>
          <a:lstStyle/>
          <a:p>
            <a:r>
              <a:rPr lang="en-GB" sz="3200" dirty="0"/>
              <a:t>Establishing</a:t>
            </a:r>
            <a:r>
              <a:rPr lang="en-GB" dirty="0"/>
              <a:t> </a:t>
            </a:r>
            <a:r>
              <a:rPr lang="en-GB" sz="3200" dirty="0"/>
              <a:t>a</a:t>
            </a:r>
            <a:r>
              <a:rPr lang="en-GB" dirty="0"/>
              <a:t> </a:t>
            </a:r>
            <a:r>
              <a:rPr lang="en-GB" sz="3200" dirty="0"/>
              <a:t>Baseline</a:t>
            </a:r>
            <a:r>
              <a:rPr lang="en-GB" dirty="0"/>
              <a:t> </a:t>
            </a:r>
          </a:p>
        </p:txBody>
      </p:sp>
      <p:pic>
        <p:nvPicPr>
          <p:cNvPr id="8" name="Picture 7">
            <a:extLst>
              <a:ext uri="{FF2B5EF4-FFF2-40B4-BE49-F238E27FC236}">
                <a16:creationId xmlns:a16="http://schemas.microsoft.com/office/drawing/2014/main" id="{7F5C294C-C83F-4B6F-937A-60D6209FB36E}"/>
              </a:ext>
            </a:extLst>
          </p:cNvPr>
          <p:cNvPicPr>
            <a:picLocks noChangeAspect="1"/>
          </p:cNvPicPr>
          <p:nvPr/>
        </p:nvPicPr>
        <p:blipFill>
          <a:blip r:embed="rId3"/>
          <a:stretch>
            <a:fillRect/>
          </a:stretch>
        </p:blipFill>
        <p:spPr>
          <a:xfrm>
            <a:off x="1778235" y="859804"/>
            <a:ext cx="8635530" cy="5388596"/>
          </a:xfrm>
          <a:prstGeom prst="rect">
            <a:avLst/>
          </a:prstGeom>
          <a:ln w="57150">
            <a:solidFill>
              <a:schemeClr val="tx1"/>
            </a:solidFill>
          </a:ln>
        </p:spPr>
      </p:pic>
    </p:spTree>
    <p:extLst>
      <p:ext uri="{BB962C8B-B14F-4D97-AF65-F5344CB8AC3E}">
        <p14:creationId xmlns:p14="http://schemas.microsoft.com/office/powerpoint/2010/main" val="646935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Force</a:t>
            </a:r>
            <a:r>
              <a:rPr lang="en-GB" dirty="0"/>
              <a:t> </a:t>
            </a:r>
            <a:r>
              <a:rPr lang="en-GB" sz="3200" dirty="0"/>
              <a:t>Plan</a:t>
            </a:r>
          </a:p>
        </p:txBody>
      </p:sp>
      <p:pic>
        <p:nvPicPr>
          <p:cNvPr id="8" name="Picture 7">
            <a:extLst>
              <a:ext uri="{FF2B5EF4-FFF2-40B4-BE49-F238E27FC236}">
                <a16:creationId xmlns:a16="http://schemas.microsoft.com/office/drawing/2014/main" id="{476E2281-765D-4487-A2DF-48D919B53348}"/>
              </a:ext>
            </a:extLst>
          </p:cNvPr>
          <p:cNvPicPr>
            <a:picLocks noChangeAspect="1"/>
          </p:cNvPicPr>
          <p:nvPr/>
        </p:nvPicPr>
        <p:blipFill>
          <a:blip r:embed="rId3"/>
          <a:stretch>
            <a:fillRect/>
          </a:stretch>
        </p:blipFill>
        <p:spPr>
          <a:xfrm>
            <a:off x="642749" y="1638102"/>
            <a:ext cx="10943920" cy="3852916"/>
          </a:xfrm>
          <a:prstGeom prst="rect">
            <a:avLst/>
          </a:prstGeom>
          <a:ln w="57150">
            <a:solidFill>
              <a:schemeClr val="accent5">
                <a:lumMod val="50000"/>
              </a:schemeClr>
            </a:solidFill>
          </a:ln>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2D9D6758-6952-44C1-BF70-76D6636EACA4}"/>
              </a:ext>
            </a:extLst>
          </p:cNvPr>
          <p:cNvSpPr/>
          <p:nvPr/>
        </p:nvSpPr>
        <p:spPr>
          <a:xfrm>
            <a:off x="6266873" y="1366982"/>
            <a:ext cx="1339273"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9">
            <a:extLst>
              <a:ext uri="{FF2B5EF4-FFF2-40B4-BE49-F238E27FC236}">
                <a16:creationId xmlns:a16="http://schemas.microsoft.com/office/drawing/2014/main" id="{B3287310-9A30-4302-97D2-AF144A187555}"/>
              </a:ext>
            </a:extLst>
          </p:cNvPr>
          <p:cNvSpPr/>
          <p:nvPr/>
        </p:nvSpPr>
        <p:spPr>
          <a:xfrm>
            <a:off x="7167418" y="4320361"/>
            <a:ext cx="3094182"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10">
            <a:extLst>
              <a:ext uri="{FF2B5EF4-FFF2-40B4-BE49-F238E27FC236}">
                <a16:creationId xmlns:a16="http://schemas.microsoft.com/office/drawing/2014/main" id="{D8D35513-9B2D-4D2B-BED2-AA3372F6E735}"/>
              </a:ext>
            </a:extLst>
          </p:cNvPr>
          <p:cNvSpPr/>
          <p:nvPr/>
        </p:nvSpPr>
        <p:spPr>
          <a:xfrm>
            <a:off x="10571018" y="3680691"/>
            <a:ext cx="840509" cy="332509"/>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05731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Plan</a:t>
            </a:r>
            <a:r>
              <a:rPr lang="en-GB" dirty="0"/>
              <a:t> </a:t>
            </a:r>
            <a:r>
              <a:rPr lang="en-GB" sz="3200" dirty="0"/>
              <a:t>Compare</a:t>
            </a:r>
            <a:r>
              <a:rPr lang="en-GB" dirty="0"/>
              <a:t> </a:t>
            </a:r>
          </a:p>
        </p:txBody>
      </p:sp>
      <p:pic>
        <p:nvPicPr>
          <p:cNvPr id="6" name="Picture 5" descr="A screenshot of a cell phone&#10;&#10;Description automatically generated">
            <a:extLst>
              <a:ext uri="{FF2B5EF4-FFF2-40B4-BE49-F238E27FC236}">
                <a16:creationId xmlns:a16="http://schemas.microsoft.com/office/drawing/2014/main" id="{3AECECC9-6563-4077-8C8B-37FB5AB77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9919" y="1096758"/>
            <a:ext cx="9912161" cy="49899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44090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1126" y="141473"/>
            <a:ext cx="10972800" cy="474041"/>
          </a:xfrm>
        </p:spPr>
        <p:txBody>
          <a:bodyPr/>
          <a:lstStyle/>
          <a:p>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2" name="TextBox 1">
            <a:extLst>
              <a:ext uri="{FF2B5EF4-FFF2-40B4-BE49-F238E27FC236}">
                <a16:creationId xmlns:a16="http://schemas.microsoft.com/office/drawing/2014/main" id="{33EF1388-795C-4839-977B-ED7ECAA9245A}"/>
              </a:ext>
            </a:extLst>
          </p:cNvPr>
          <p:cNvSpPr txBox="1"/>
          <p:nvPr/>
        </p:nvSpPr>
        <p:spPr>
          <a:xfrm>
            <a:off x="511354" y="1087120"/>
            <a:ext cx="3495040" cy="2123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aphicFrame>
        <p:nvGraphicFramePr>
          <p:cNvPr id="3" name="Table 4">
            <a:extLst>
              <a:ext uri="{FF2B5EF4-FFF2-40B4-BE49-F238E27FC236}">
                <a16:creationId xmlns:a16="http://schemas.microsoft.com/office/drawing/2014/main" id="{E14A067A-C5BA-42FF-8C2C-97488523FD9E}"/>
              </a:ext>
            </a:extLst>
          </p:cNvPr>
          <p:cNvGraphicFramePr>
            <a:graphicFrameLocks noGrp="1"/>
          </p:cNvGraphicFramePr>
          <p:nvPr>
            <p:extLst>
              <p:ext uri="{D42A27DB-BD31-4B8C-83A1-F6EECF244321}">
                <p14:modId xmlns:p14="http://schemas.microsoft.com/office/powerpoint/2010/main" val="2428734128"/>
              </p:ext>
            </p:extLst>
          </p:nvPr>
        </p:nvGraphicFramePr>
        <p:xfrm>
          <a:off x="51135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dirty="0"/>
                        <a:t>sys.query_store_query_text</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dirty="0"/>
                    </a:p>
                  </a:txBody>
                  <a:tcPr/>
                </a:tc>
                <a:tc>
                  <a:txBody>
                    <a:bodyPr/>
                    <a:lstStyle/>
                    <a:p>
                      <a:r>
                        <a:rPr lang="en-US" dirty="0" err="1"/>
                        <a:t>query_text_id</a:t>
                      </a:r>
                      <a:endParaRPr lang="en-US" dirty="0"/>
                    </a:p>
                  </a:txBody>
                  <a:tcPr/>
                </a:tc>
                <a:extLst>
                  <a:ext uri="{0D108BD9-81ED-4DB2-BD59-A6C34878D82A}">
                    <a16:rowId xmlns:a16="http://schemas.microsoft.com/office/drawing/2014/main" val="307653851"/>
                  </a:ext>
                </a:extLst>
              </a:tr>
              <a:tr h="370840">
                <a:tc>
                  <a:txBody>
                    <a:bodyPr/>
                    <a:lstStyle/>
                    <a:p>
                      <a:endParaRPr lang="en-US"/>
                    </a:p>
                  </a:txBody>
                  <a:tcPr/>
                </a:tc>
                <a:tc>
                  <a:txBody>
                    <a:bodyPr/>
                    <a:lstStyle/>
                    <a:p>
                      <a:r>
                        <a:rPr lang="en-US" dirty="0" err="1"/>
                        <a:t>query_sql_text</a:t>
                      </a:r>
                      <a:endParaRPr lang="en-US" dirty="0"/>
                    </a:p>
                  </a:txBody>
                  <a:tcPr/>
                </a:tc>
                <a:extLst>
                  <a:ext uri="{0D108BD9-81ED-4DB2-BD59-A6C34878D82A}">
                    <a16:rowId xmlns:a16="http://schemas.microsoft.com/office/drawing/2014/main" val="1579922997"/>
                  </a:ext>
                </a:extLst>
              </a:tr>
            </a:tbl>
          </a:graphicData>
        </a:graphic>
      </p:graphicFrame>
      <p:sp>
        <p:nvSpPr>
          <p:cNvPr id="11" name="Graphic 6" descr="Key with solid fill">
            <a:extLst>
              <a:ext uri="{FF2B5EF4-FFF2-40B4-BE49-F238E27FC236}">
                <a16:creationId xmlns:a16="http://schemas.microsoft.com/office/drawing/2014/main" id="{6E62F4DE-6BE4-4F38-9052-44AE7DA2812E}"/>
              </a:ext>
            </a:extLst>
          </p:cNvPr>
          <p:cNvSpPr/>
          <p:nvPr/>
        </p:nvSpPr>
        <p:spPr>
          <a:xfrm>
            <a:off x="64043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3" name="Table 4">
            <a:extLst>
              <a:ext uri="{FF2B5EF4-FFF2-40B4-BE49-F238E27FC236}">
                <a16:creationId xmlns:a16="http://schemas.microsoft.com/office/drawing/2014/main" id="{67D3F5A5-17AA-45C5-BD48-CCF585BE782A}"/>
              </a:ext>
            </a:extLst>
          </p:cNvPr>
          <p:cNvGraphicFramePr>
            <a:graphicFrameLocks noGrp="1"/>
          </p:cNvGraphicFramePr>
          <p:nvPr>
            <p:extLst>
              <p:ext uri="{D42A27DB-BD31-4B8C-83A1-F6EECF244321}">
                <p14:modId xmlns:p14="http://schemas.microsoft.com/office/powerpoint/2010/main" val="424651059"/>
              </p:ext>
            </p:extLst>
          </p:nvPr>
        </p:nvGraphicFramePr>
        <p:xfrm>
          <a:off x="4463594" y="870453"/>
          <a:ext cx="3291840" cy="148336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query</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query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query_text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1482854906"/>
                  </a:ext>
                </a:extLst>
              </a:tr>
            </a:tbl>
          </a:graphicData>
        </a:graphic>
      </p:graphicFrame>
      <p:sp>
        <p:nvSpPr>
          <p:cNvPr id="15" name="Graphic 6" descr="Key with solid fill">
            <a:extLst>
              <a:ext uri="{FF2B5EF4-FFF2-40B4-BE49-F238E27FC236}">
                <a16:creationId xmlns:a16="http://schemas.microsoft.com/office/drawing/2014/main" id="{3DD499D2-5F03-40AF-AB28-4626F5658B10}"/>
              </a:ext>
            </a:extLst>
          </p:cNvPr>
          <p:cNvSpPr/>
          <p:nvPr/>
        </p:nvSpPr>
        <p:spPr>
          <a:xfrm>
            <a:off x="459267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8" name="Table 4">
            <a:extLst>
              <a:ext uri="{FF2B5EF4-FFF2-40B4-BE49-F238E27FC236}">
                <a16:creationId xmlns:a16="http://schemas.microsoft.com/office/drawing/2014/main" id="{4E5A852E-0F08-4685-B9C7-47919F7E9F99}"/>
              </a:ext>
            </a:extLst>
          </p:cNvPr>
          <p:cNvGraphicFramePr>
            <a:graphicFrameLocks noGrp="1"/>
          </p:cNvGraphicFramePr>
          <p:nvPr>
            <p:extLst>
              <p:ext uri="{D42A27DB-BD31-4B8C-83A1-F6EECF244321}">
                <p14:modId xmlns:p14="http://schemas.microsoft.com/office/powerpoint/2010/main" val="1766785954"/>
              </p:ext>
            </p:extLst>
          </p:nvPr>
        </p:nvGraphicFramePr>
        <p:xfrm>
          <a:off x="832439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plan</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query__id</a:t>
                      </a:r>
                      <a:endParaRPr lang="en-US" sz="1800" dirty="0"/>
                    </a:p>
                  </a:txBody>
                  <a:tcPr/>
                </a:tc>
                <a:extLst>
                  <a:ext uri="{0D108BD9-81ED-4DB2-BD59-A6C34878D82A}">
                    <a16:rowId xmlns:a16="http://schemas.microsoft.com/office/drawing/2014/main" val="1579922997"/>
                  </a:ext>
                </a:extLst>
              </a:tr>
            </a:tbl>
          </a:graphicData>
        </a:graphic>
      </p:graphicFrame>
      <p:sp>
        <p:nvSpPr>
          <p:cNvPr id="20" name="Graphic 6" descr="Key with solid fill">
            <a:extLst>
              <a:ext uri="{FF2B5EF4-FFF2-40B4-BE49-F238E27FC236}">
                <a16:creationId xmlns:a16="http://schemas.microsoft.com/office/drawing/2014/main" id="{D67D5A25-5C14-4002-AE18-FCEFB5ED2AE9}"/>
              </a:ext>
            </a:extLst>
          </p:cNvPr>
          <p:cNvSpPr/>
          <p:nvPr/>
        </p:nvSpPr>
        <p:spPr>
          <a:xfrm>
            <a:off x="8476794" y="1324412"/>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2" name="Table 4">
            <a:extLst>
              <a:ext uri="{FF2B5EF4-FFF2-40B4-BE49-F238E27FC236}">
                <a16:creationId xmlns:a16="http://schemas.microsoft.com/office/drawing/2014/main" id="{9C687EF6-AAC7-4CAB-A2C0-D7F8A3EE342D}"/>
              </a:ext>
            </a:extLst>
          </p:cNvPr>
          <p:cNvGraphicFramePr>
            <a:graphicFrameLocks noGrp="1"/>
          </p:cNvGraphicFramePr>
          <p:nvPr>
            <p:extLst>
              <p:ext uri="{D42A27DB-BD31-4B8C-83A1-F6EECF244321}">
                <p14:modId xmlns:p14="http://schemas.microsoft.com/office/powerpoint/2010/main" val="455013419"/>
              </p:ext>
            </p:extLst>
          </p:nvPr>
        </p:nvGraphicFramePr>
        <p:xfrm>
          <a:off x="511354" y="2341880"/>
          <a:ext cx="3291840" cy="74168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context_setting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307653851"/>
                  </a:ext>
                </a:extLst>
              </a:tr>
            </a:tbl>
          </a:graphicData>
        </a:graphic>
      </p:graphicFrame>
      <p:sp>
        <p:nvSpPr>
          <p:cNvPr id="24" name="Graphic 6" descr="Key with solid fill">
            <a:extLst>
              <a:ext uri="{FF2B5EF4-FFF2-40B4-BE49-F238E27FC236}">
                <a16:creationId xmlns:a16="http://schemas.microsoft.com/office/drawing/2014/main" id="{F27A92E1-0810-4500-9E12-275EF5CBE720}"/>
              </a:ext>
            </a:extLst>
          </p:cNvPr>
          <p:cNvSpPr/>
          <p:nvPr/>
        </p:nvSpPr>
        <p:spPr>
          <a:xfrm>
            <a:off x="663754" y="2795839"/>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6" name="Table 4">
            <a:extLst>
              <a:ext uri="{FF2B5EF4-FFF2-40B4-BE49-F238E27FC236}">
                <a16:creationId xmlns:a16="http://schemas.microsoft.com/office/drawing/2014/main" id="{BF3D743A-A795-4736-AC3C-89C9316C2E85}"/>
              </a:ext>
            </a:extLst>
          </p:cNvPr>
          <p:cNvGraphicFramePr>
            <a:graphicFrameLocks noGrp="1"/>
          </p:cNvGraphicFramePr>
          <p:nvPr>
            <p:extLst>
              <p:ext uri="{D42A27DB-BD31-4B8C-83A1-F6EECF244321}">
                <p14:modId xmlns:p14="http://schemas.microsoft.com/office/powerpoint/2010/main" val="4059334867"/>
              </p:ext>
            </p:extLst>
          </p:nvPr>
        </p:nvGraphicFramePr>
        <p:xfrm>
          <a:off x="4352380" y="2975764"/>
          <a:ext cx="3586480" cy="110744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a:t>
                      </a:r>
                    </a:p>
                  </a:txBody>
                  <a:tcPr/>
                </a:tc>
                <a:tc hMerge="1">
                  <a:txBody>
                    <a:bodyPr/>
                    <a:lstStyle/>
                    <a:p>
                      <a:endParaRPr lang="en-US" dirty="0"/>
                    </a:p>
                  </a:txBody>
                  <a:tcPr/>
                </a:tc>
                <a:extLst>
                  <a:ext uri="{0D108BD9-81ED-4DB2-BD59-A6C34878D82A}">
                    <a16:rowId xmlns:a16="http://schemas.microsoft.com/office/drawing/2014/main" val="981022766"/>
                  </a:ext>
                </a:extLst>
              </a:tr>
              <a:tr h="270356">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1579922997"/>
                  </a:ext>
                </a:extLst>
              </a:tr>
            </a:tbl>
          </a:graphicData>
        </a:graphic>
      </p:graphicFrame>
      <p:sp>
        <p:nvSpPr>
          <p:cNvPr id="28" name="Graphic 6" descr="Key with solid fill">
            <a:extLst>
              <a:ext uri="{FF2B5EF4-FFF2-40B4-BE49-F238E27FC236}">
                <a16:creationId xmlns:a16="http://schemas.microsoft.com/office/drawing/2014/main" id="{87F140C2-3F17-40AB-94C1-435594855AA3}"/>
              </a:ext>
            </a:extLst>
          </p:cNvPr>
          <p:cNvSpPr/>
          <p:nvPr/>
        </p:nvSpPr>
        <p:spPr>
          <a:xfrm>
            <a:off x="4473754" y="343525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0" name="Table 4">
            <a:extLst>
              <a:ext uri="{FF2B5EF4-FFF2-40B4-BE49-F238E27FC236}">
                <a16:creationId xmlns:a16="http://schemas.microsoft.com/office/drawing/2014/main" id="{036229D9-8A71-4C2A-B234-7D36471D9BBE}"/>
              </a:ext>
            </a:extLst>
          </p:cNvPr>
          <p:cNvGraphicFramePr>
            <a:graphicFrameLocks noGrp="1"/>
          </p:cNvGraphicFramePr>
          <p:nvPr>
            <p:extLst>
              <p:ext uri="{D42A27DB-BD31-4B8C-83A1-F6EECF244321}">
                <p14:modId xmlns:p14="http://schemas.microsoft.com/office/powerpoint/2010/main" val="63660598"/>
              </p:ext>
            </p:extLst>
          </p:nvPr>
        </p:nvGraphicFramePr>
        <p:xfrm>
          <a:off x="8324394" y="2732306"/>
          <a:ext cx="3586480" cy="148336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wait_stat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waits_stats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439171611"/>
                  </a:ext>
                </a:extLst>
              </a:tr>
            </a:tbl>
          </a:graphicData>
        </a:graphic>
      </p:graphicFrame>
      <p:sp>
        <p:nvSpPr>
          <p:cNvPr id="32" name="Graphic 6" descr="Key with solid fill">
            <a:extLst>
              <a:ext uri="{FF2B5EF4-FFF2-40B4-BE49-F238E27FC236}">
                <a16:creationId xmlns:a16="http://schemas.microsoft.com/office/drawing/2014/main" id="{4AAB5E85-9238-43D5-A3EE-2776F3CD22D5}"/>
              </a:ext>
            </a:extLst>
          </p:cNvPr>
          <p:cNvSpPr/>
          <p:nvPr/>
        </p:nvSpPr>
        <p:spPr>
          <a:xfrm>
            <a:off x="8476794" y="3186265"/>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4" name="Table 4">
            <a:extLst>
              <a:ext uri="{FF2B5EF4-FFF2-40B4-BE49-F238E27FC236}">
                <a16:creationId xmlns:a16="http://schemas.microsoft.com/office/drawing/2014/main" id="{A8F3D452-ECCD-443A-9622-21F01C523ED9}"/>
              </a:ext>
            </a:extLst>
          </p:cNvPr>
          <p:cNvGraphicFramePr>
            <a:graphicFrameLocks noGrp="1"/>
          </p:cNvGraphicFramePr>
          <p:nvPr>
            <p:extLst>
              <p:ext uri="{D42A27DB-BD31-4B8C-83A1-F6EECF244321}">
                <p14:modId xmlns:p14="http://schemas.microsoft.com/office/powerpoint/2010/main" val="2714565535"/>
              </p:ext>
            </p:extLst>
          </p:nvPr>
        </p:nvGraphicFramePr>
        <p:xfrm>
          <a:off x="6030774" y="4588708"/>
          <a:ext cx="4396740" cy="1483360"/>
        </p:xfrm>
        <a:graphic>
          <a:graphicData uri="http://schemas.openxmlformats.org/drawingml/2006/table">
            <a:tbl>
              <a:tblPr firstRow="1" bandRow="1">
                <a:tableStyleId>{00A15C55-8517-42AA-B614-E9B94910E393}</a:tableStyleId>
              </a:tblPr>
              <a:tblGrid>
                <a:gridCol w="747397">
                  <a:extLst>
                    <a:ext uri="{9D8B030D-6E8A-4147-A177-3AD203B41FA5}">
                      <a16:colId xmlns:a16="http://schemas.microsoft.com/office/drawing/2014/main" val="2795158374"/>
                    </a:ext>
                  </a:extLst>
                </a:gridCol>
                <a:gridCol w="3649343">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_interval</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start_time</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End_time</a:t>
                      </a:r>
                      <a:endParaRPr lang="en-US" sz="1800" dirty="0"/>
                    </a:p>
                  </a:txBody>
                  <a:tcPr/>
                </a:tc>
                <a:extLst>
                  <a:ext uri="{0D108BD9-81ED-4DB2-BD59-A6C34878D82A}">
                    <a16:rowId xmlns:a16="http://schemas.microsoft.com/office/drawing/2014/main" val="3439171611"/>
                  </a:ext>
                </a:extLst>
              </a:tr>
            </a:tbl>
          </a:graphicData>
        </a:graphic>
      </p:graphicFrame>
      <p:sp>
        <p:nvSpPr>
          <p:cNvPr id="36" name="Graphic 6" descr="Key with solid fill">
            <a:extLst>
              <a:ext uri="{FF2B5EF4-FFF2-40B4-BE49-F238E27FC236}">
                <a16:creationId xmlns:a16="http://schemas.microsoft.com/office/drawing/2014/main" id="{CA859494-ACFF-4721-834E-1121DCA981E1}"/>
              </a:ext>
            </a:extLst>
          </p:cNvPr>
          <p:cNvSpPr/>
          <p:nvPr/>
        </p:nvSpPr>
        <p:spPr>
          <a:xfrm>
            <a:off x="6226354" y="5042667"/>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24E0AB23-62E3-43EB-A21F-FDA032AA6892}"/>
              </a:ext>
            </a:extLst>
          </p:cNvPr>
          <p:cNvSpPr txBox="1"/>
          <p:nvPr/>
        </p:nvSpPr>
        <p:spPr>
          <a:xfrm>
            <a:off x="830580" y="3800167"/>
            <a:ext cx="2667814" cy="83099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Query Store Information</a:t>
            </a:r>
          </a:p>
        </p:txBody>
      </p:sp>
      <p:sp>
        <p:nvSpPr>
          <p:cNvPr id="39" name="TextBox 38">
            <a:extLst>
              <a:ext uri="{FF2B5EF4-FFF2-40B4-BE49-F238E27FC236}">
                <a16:creationId xmlns:a16="http://schemas.microsoft.com/office/drawing/2014/main" id="{655CDC87-71D1-43E6-BE51-4C6E346B444A}"/>
              </a:ext>
            </a:extLst>
          </p:cNvPr>
          <p:cNvSpPr txBox="1"/>
          <p:nvPr/>
        </p:nvSpPr>
        <p:spPr>
          <a:xfrm>
            <a:off x="811986" y="4878277"/>
            <a:ext cx="2667814" cy="830997"/>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Compile Time Information</a:t>
            </a:r>
          </a:p>
        </p:txBody>
      </p:sp>
      <p:cxnSp>
        <p:nvCxnSpPr>
          <p:cNvPr id="41" name="Connector: Elbow 40">
            <a:extLst>
              <a:ext uri="{FF2B5EF4-FFF2-40B4-BE49-F238E27FC236}">
                <a16:creationId xmlns:a16="http://schemas.microsoft.com/office/drawing/2014/main" id="{F18FBD71-E38E-4AF7-A270-88C4ED5165CC}"/>
              </a:ext>
            </a:extLst>
          </p:cNvPr>
          <p:cNvCxnSpPr>
            <a:cxnSpLocks/>
          </p:cNvCxnSpPr>
          <p:nvPr/>
        </p:nvCxnSpPr>
        <p:spPr>
          <a:xfrm>
            <a:off x="3498394" y="1422400"/>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4FDE86F0-934B-4501-99A6-D15B4A5E7DFF}"/>
              </a:ext>
            </a:extLst>
          </p:cNvPr>
          <p:cNvCxnSpPr>
            <a:cxnSpLocks/>
          </p:cNvCxnSpPr>
          <p:nvPr/>
        </p:nvCxnSpPr>
        <p:spPr>
          <a:xfrm flipV="1">
            <a:off x="3569832" y="2177549"/>
            <a:ext cx="1113472" cy="737312"/>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6629526-8D65-45A1-9355-53BAC384770D}"/>
              </a:ext>
            </a:extLst>
          </p:cNvPr>
          <p:cNvCxnSpPr>
            <a:cxnSpLocks/>
          </p:cNvCxnSpPr>
          <p:nvPr/>
        </p:nvCxnSpPr>
        <p:spPr>
          <a:xfrm>
            <a:off x="7344182" y="1431694"/>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2F873D41-5493-4A58-BD4F-277927D8FCFD}"/>
              </a:ext>
            </a:extLst>
          </p:cNvPr>
          <p:cNvCxnSpPr>
            <a:cxnSpLocks/>
            <a:stCxn id="18" idx="3"/>
          </p:cNvCxnSpPr>
          <p:nvPr/>
        </p:nvCxnSpPr>
        <p:spPr>
          <a:xfrm flipH="1">
            <a:off x="11370400" y="1426713"/>
            <a:ext cx="245834" cy="2281686"/>
          </a:xfrm>
          <a:prstGeom prst="bentConnector4">
            <a:avLst>
              <a:gd name="adj1" fmla="val -159116"/>
              <a:gd name="adj2" fmla="val 100039"/>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DA858DF6-6240-4C44-8EF1-F08447C75F6F}"/>
              </a:ext>
            </a:extLst>
          </p:cNvPr>
          <p:cNvCxnSpPr>
            <a:cxnSpLocks/>
            <a:stCxn id="18" idx="1"/>
            <a:endCxn id="26" idx="3"/>
          </p:cNvCxnSpPr>
          <p:nvPr/>
        </p:nvCxnSpPr>
        <p:spPr>
          <a:xfrm rot="10800000" flipV="1">
            <a:off x="7938860" y="1426712"/>
            <a:ext cx="385534" cy="2102771"/>
          </a:xfrm>
          <a:prstGeom prst="bentConnector3">
            <a:avLst>
              <a:gd name="adj1" fmla="val 50000"/>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112963D2-B81A-437C-974E-3D83FCB50D98}"/>
              </a:ext>
            </a:extLst>
          </p:cNvPr>
          <p:cNvCxnSpPr>
            <a:cxnSpLocks/>
          </p:cNvCxnSpPr>
          <p:nvPr/>
        </p:nvCxnSpPr>
        <p:spPr>
          <a:xfrm rot="10800000" flipV="1">
            <a:off x="9949994" y="4081441"/>
            <a:ext cx="1798320" cy="1040916"/>
          </a:xfrm>
          <a:prstGeom prst="bentConnector3">
            <a:avLst>
              <a:gd name="adj1" fmla="val -11582"/>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6FFF5B10-E9DE-46E0-8AB8-AD0C31662727}"/>
              </a:ext>
            </a:extLst>
          </p:cNvPr>
          <p:cNvCxnSpPr>
            <a:cxnSpLocks/>
          </p:cNvCxnSpPr>
          <p:nvPr/>
        </p:nvCxnSpPr>
        <p:spPr>
          <a:xfrm>
            <a:off x="4638040" y="3885234"/>
            <a:ext cx="1443534" cy="1274130"/>
          </a:xfrm>
          <a:prstGeom prst="bentConnector3">
            <a:avLst>
              <a:gd name="adj1" fmla="val -28125"/>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952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72249" y="186100"/>
            <a:ext cx="10972800" cy="474041"/>
          </a:xfrm>
        </p:spPr>
        <p:txBody>
          <a:bodyPr/>
          <a:lstStyle/>
          <a:p>
            <a:r>
              <a:rPr lang="en-US" sz="3200" dirty="0"/>
              <a:t>Using</a:t>
            </a:r>
            <a:r>
              <a:rPr lang="en-US" dirty="0"/>
              <a:t> </a:t>
            </a:r>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10" name="Text Placeholder 4">
            <a:extLst>
              <a:ext uri="{FF2B5EF4-FFF2-40B4-BE49-F238E27FC236}">
                <a16:creationId xmlns:a16="http://schemas.microsoft.com/office/drawing/2014/main" id="{AEF65078-6FBE-4295-BFE6-4805EB86DD2C}"/>
              </a:ext>
            </a:extLst>
          </p:cNvPr>
          <p:cNvSpPr txBox="1">
            <a:spLocks/>
          </p:cNvSpPr>
          <p:nvPr/>
        </p:nvSpPr>
        <p:spPr>
          <a:xfrm>
            <a:off x="1074934" y="992137"/>
            <a:ext cx="10504417"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Finding the TOP 10 most frequently executed SQL Server Queries in the Query Store.</a:t>
            </a:r>
          </a:p>
        </p:txBody>
      </p:sp>
      <p:sp>
        <p:nvSpPr>
          <p:cNvPr id="2" name="TextBox 1">
            <a:extLst>
              <a:ext uri="{FF2B5EF4-FFF2-40B4-BE49-F238E27FC236}">
                <a16:creationId xmlns:a16="http://schemas.microsoft.com/office/drawing/2014/main" id="{5B526369-8CA9-462E-8EBE-932F925EAF91}"/>
              </a:ext>
            </a:extLst>
          </p:cNvPr>
          <p:cNvSpPr txBox="1"/>
          <p:nvPr/>
        </p:nvSpPr>
        <p:spPr>
          <a:xfrm>
            <a:off x="2250851" y="2192295"/>
            <a:ext cx="7690298"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O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_tex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plan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runtime_stats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ROU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62919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4400" b="0" i="0" u="none" strike="noStrike" kern="1200" cap="none" spc="0" normalizeH="0" baseline="0" noProof="0" dirty="0">
                <a:ln>
                  <a:noFill/>
                </a:ln>
                <a:solidFill>
                  <a:srgbClr val="2098D5">
                    <a:lumMod val="75000"/>
                  </a:srgbClr>
                </a:solidFill>
                <a:effectLst/>
                <a:uLnTx/>
                <a:uFillTx/>
                <a:latin typeface="Segoe UI"/>
                <a:ea typeface="+mj-ea"/>
                <a:cs typeface="Segoe UI Light"/>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panose="020B0502040204020203" pitchFamily="34" charset="0"/>
              </a:rPr>
              <a:t>What is an Execution Plan?</a:t>
            </a:r>
          </a:p>
        </p:txBody>
      </p:sp>
      <p:pic>
        <p:nvPicPr>
          <p:cNvPr id="4" name="Picture 3">
            <a:extLst>
              <a:ext uri="{FF2B5EF4-FFF2-40B4-BE49-F238E27FC236}">
                <a16:creationId xmlns:a16="http://schemas.microsoft.com/office/drawing/2014/main" id="{A59E8D7D-FD9B-4470-A2BC-D4A2B39E28FD}"/>
              </a:ext>
            </a:extLst>
          </p:cNvPr>
          <p:cNvPicPr>
            <a:picLocks noChangeAspect="1"/>
          </p:cNvPicPr>
          <p:nvPr/>
        </p:nvPicPr>
        <p:blipFill>
          <a:blip r:embed="rId2"/>
          <a:stretch>
            <a:fillRect/>
          </a:stretch>
        </p:blipFill>
        <p:spPr>
          <a:xfrm>
            <a:off x="2510301" y="1116349"/>
            <a:ext cx="6868730" cy="54401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0241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CFE9A22-C3CB-45B7-B365-FE59FD6BB66B}">
  <ds:schemaRefs>
    <ds:schemaRef ds:uri="Strauss.PersonalizationDefinition"/>
  </ds:schemaRefs>
</ds:datastoreItem>
</file>

<file path=customXml/itemProps10.xml><?xml version="1.0" encoding="utf-8"?>
<ds:datastoreItem xmlns:ds="http://schemas.openxmlformats.org/officeDocument/2006/customXml" ds:itemID="{C3B735D1-BC68-4DEA-9288-69C3E3A0D198}">
  <ds:schemaRefs>
    <ds:schemaRef ds:uri="Strauss.PersonalizationDefinition"/>
  </ds:schemaRefs>
</ds:datastoreItem>
</file>

<file path=customXml/itemProps11.xml><?xml version="1.0" encoding="utf-8"?>
<ds:datastoreItem xmlns:ds="http://schemas.openxmlformats.org/officeDocument/2006/customXml" ds:itemID="{CD086AF5-CCD3-41C8-B98A-2B159789D38E}">
  <ds:schemaRefs>
    <ds:schemaRef ds:uri="Strauss.PersonalizationDefinition"/>
  </ds:schemaRefs>
</ds:datastoreItem>
</file>

<file path=customXml/itemProps12.xml><?xml version="1.0" encoding="utf-8"?>
<ds:datastoreItem xmlns:ds="http://schemas.openxmlformats.org/officeDocument/2006/customXml" ds:itemID="{CB96AA79-6049-4C58-8024-84715AA6F694}">
  <ds:schemaRefs>
    <ds:schemaRef ds:uri="Strauss.PersonalizationDefinition"/>
  </ds:schemaRefs>
</ds:datastoreItem>
</file>

<file path=customXml/itemProps13.xml><?xml version="1.0" encoding="utf-8"?>
<ds:datastoreItem xmlns:ds="http://schemas.openxmlformats.org/officeDocument/2006/customXml" ds:itemID="{9A62EB34-4C68-49A2-8E9D-A5EA6DFCDD8B}">
  <ds:schemaRefs>
    <ds:schemaRef ds:uri="Strauss.PersonalizationDefinition"/>
  </ds:schemaRefs>
</ds:datastoreItem>
</file>

<file path=customXml/itemProps2.xml><?xml version="1.0" encoding="utf-8"?>
<ds:datastoreItem xmlns:ds="http://schemas.openxmlformats.org/officeDocument/2006/customXml" ds:itemID="{AC969FB5-F96D-4D9F-B152-D73AB0411B9A}">
  <ds:schemaRefs>
    <ds:schemaRef ds:uri="Strauss.PersonalizationDefinition"/>
  </ds:schemaRefs>
</ds:datastoreItem>
</file>

<file path=customXml/itemProps3.xml><?xml version="1.0" encoding="utf-8"?>
<ds:datastoreItem xmlns:ds="http://schemas.openxmlformats.org/officeDocument/2006/customXml" ds:itemID="{28FFC16B-1713-4A04-87E3-9B24079C8B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BCC33FC-94BB-4B1D-A4C6-D2E6A3A4B1FD}">
  <ds:schemaRefs>
    <ds:schemaRef ds:uri="Strauss.PersonalizationDefinition"/>
  </ds:schemaRefs>
</ds:datastoreItem>
</file>

<file path=customXml/itemProps5.xml><?xml version="1.0" encoding="utf-8"?>
<ds:datastoreItem xmlns:ds="http://schemas.openxmlformats.org/officeDocument/2006/customXml" ds:itemID="{7C42A160-080E-4178-8FDB-B5422D4D778A}">
  <ds:schemaRefs>
    <ds:schemaRef ds:uri="Strauss.PersonalizationDefinition"/>
  </ds:schemaRefs>
</ds:datastoreItem>
</file>

<file path=customXml/itemProps6.xml><?xml version="1.0" encoding="utf-8"?>
<ds:datastoreItem xmlns:ds="http://schemas.openxmlformats.org/officeDocument/2006/customXml" ds:itemID="{900B6CFD-7F2D-4862-A7A0-53442C238BFE}">
  <ds:schemaRefs>
    <ds:schemaRef ds:uri="Strauss.PersonalizationDefinition"/>
  </ds:schemaRefs>
</ds:datastoreItem>
</file>

<file path=customXml/itemProps7.xml><?xml version="1.0" encoding="utf-8"?>
<ds:datastoreItem xmlns:ds="http://schemas.openxmlformats.org/officeDocument/2006/customXml" ds:itemID="{06E10B51-8839-481D-8FA1-48A0FDB1B108}">
  <ds:schemaRefs>
    <ds:schemaRef ds:uri="Strauss.PersonalizationDefinition"/>
  </ds:schemaRefs>
</ds:datastoreItem>
</file>

<file path=customXml/itemProps8.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9.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5261</TotalTime>
  <Words>13531</Words>
  <Application>Microsoft Office PowerPoint</Application>
  <PresentationFormat>Widescreen</PresentationFormat>
  <Paragraphs>1096</Paragraphs>
  <Slides>79</Slides>
  <Notes>56</Notes>
  <HiddenSlides>1</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79</vt:i4>
      </vt:variant>
    </vt:vector>
  </HeadingPairs>
  <TitlesOfParts>
    <vt:vector size="98" baseType="lpstr">
      <vt:lpstr>Arial</vt:lpstr>
      <vt:lpstr>Arial Black</vt:lpstr>
      <vt:lpstr>Calibri</vt:lpstr>
      <vt:lpstr>Calibri Light</vt:lpstr>
      <vt:lpstr>Century Gothic</vt:lpstr>
      <vt:lpstr>Comic Sans MS</vt:lpstr>
      <vt:lpstr>Consolas</vt:lpstr>
      <vt:lpstr>Courier New</vt:lpstr>
      <vt:lpstr>Segoe UI</vt:lpstr>
      <vt:lpstr>Segoe UI Body</vt:lpstr>
      <vt:lpstr>Segoe UI Light</vt:lpstr>
      <vt:lpstr>Segoe UI Semibold</vt:lpstr>
      <vt:lpstr>Symbol</vt:lpstr>
      <vt:lpstr>Times New Roman</vt:lpstr>
      <vt:lpstr>Wingdings</vt:lpstr>
      <vt:lpstr>Dark Blue</vt:lpstr>
      <vt:lpstr>PASS 2013_SpeakerTemplate_Final</vt:lpstr>
      <vt:lpstr>1_PASS 2013_SpeakerTemplate_Final</vt:lpstr>
      <vt:lpstr>Microsoft 365 PPT Template - 2018</vt:lpstr>
      <vt:lpstr>SQL Server Query Execution and Plans</vt:lpstr>
      <vt:lpstr>Learning Units covered in this Module</vt:lpstr>
      <vt:lpstr>Lesson 1: SQL Server Query Execution</vt:lpstr>
      <vt:lpstr>Objectives</vt:lpstr>
      <vt:lpstr>PowerPoint Presentation</vt:lpstr>
      <vt:lpstr>PowerPoint Presentation</vt:lpstr>
      <vt:lpstr>PowerPoint Presentation</vt:lpstr>
      <vt:lpstr>PowerPoint Presentation</vt:lpstr>
      <vt:lpstr>PowerPoint Presentation</vt:lpstr>
      <vt:lpstr>How to see the query plan</vt:lpstr>
      <vt:lpstr>SQL Server Execution Plan </vt:lpstr>
      <vt:lpstr>SQL Server Execution Plan </vt:lpstr>
      <vt:lpstr>SQL Server Execution Plan  Caching</vt:lpstr>
      <vt:lpstr>SQL Server compilation and execution</vt:lpstr>
      <vt:lpstr>SQL Server Execution Plan Recompilations </vt:lpstr>
      <vt:lpstr>SQL Server Execution Plan Recompilations </vt:lpstr>
      <vt:lpstr>Questions?</vt:lpstr>
      <vt:lpstr>Lesson 2: SQL Server Query Plan Analysis</vt:lpstr>
      <vt:lpstr>Objectives</vt:lpstr>
      <vt:lpstr>How to see the query plan</vt:lpstr>
      <vt:lpstr>Contents of an Execution Plan</vt:lpstr>
      <vt:lpstr>How to see the query plan</vt:lpstr>
      <vt:lpstr>SSMS Graphical Plan</vt:lpstr>
      <vt:lpstr>SSMS Graphical Plan</vt:lpstr>
      <vt:lpstr>SSMS Graphical Plan</vt:lpstr>
      <vt:lpstr>SSMS Graphical Plan</vt:lpstr>
      <vt:lpstr>Execution Plan</vt:lpstr>
      <vt:lpstr>PowerPoint Presentation</vt:lpstr>
      <vt:lpstr>PowerPoint Presentation</vt:lpstr>
      <vt:lpstr>PowerPoint Presentation</vt:lpstr>
      <vt:lpstr>What to look for in the query plan</vt:lpstr>
      <vt:lpstr>Demonstration</vt:lpstr>
      <vt:lpstr>Questions?</vt:lpstr>
      <vt:lpstr>Lesson 3: SQL Server Plan Cache Internals </vt:lpstr>
      <vt:lpstr>Objectives</vt:lpstr>
      <vt:lpstr>The Plan Cache</vt:lpstr>
      <vt:lpstr>Dynamic Management Views and Functions</vt:lpstr>
      <vt:lpstr>Dynamic Management Objects</vt:lpstr>
      <vt:lpstr>Relationships between DMOs</vt:lpstr>
      <vt:lpstr>Captured Metrics (sys.dm_exec_query_stats ) </vt:lpstr>
      <vt:lpstr>Mining the Plan Cache with T-SQL</vt:lpstr>
      <vt:lpstr>Mining the Plan Cache using XQuery</vt:lpstr>
      <vt:lpstr>Cache Plan Bloat </vt:lpstr>
      <vt:lpstr>Clearing the Plan Cache </vt:lpstr>
      <vt:lpstr>Clearing the Plan Cache </vt:lpstr>
      <vt:lpstr>Plan Reuse</vt:lpstr>
      <vt:lpstr>Plan Reuse</vt:lpstr>
      <vt:lpstr>Parameter Sniffing</vt:lpstr>
      <vt:lpstr>Knowledge Check</vt:lpstr>
      <vt:lpstr>Lesson 4: SQL Server Query Store </vt:lpstr>
      <vt:lpstr>Introducing the Query Store</vt:lpstr>
      <vt:lpstr>Why use Query Store?</vt:lpstr>
      <vt:lpstr>Query Store Operation Modes</vt:lpstr>
      <vt:lpstr>Query Store Monitoring Settings</vt:lpstr>
      <vt:lpstr>Query Store Monitoring Settings</vt:lpstr>
      <vt:lpstr>Query Store Retention Settings</vt:lpstr>
      <vt:lpstr>Query Store Retention Settings</vt:lpstr>
      <vt:lpstr>Query Store Retention Settings</vt:lpstr>
      <vt:lpstr>Query Store Retention Settings</vt:lpstr>
      <vt:lpstr>Query Store Retention Settings</vt:lpstr>
      <vt:lpstr>Query Store Retention Settings</vt:lpstr>
      <vt:lpstr>Query Store Capture Policy Settings</vt:lpstr>
      <vt:lpstr>Query Store Capture Policy Settings</vt:lpstr>
      <vt:lpstr>Query Store Capture Policy Settings</vt:lpstr>
      <vt:lpstr>Query Store Capture Policy Settings</vt:lpstr>
      <vt:lpstr>Purge Query Data</vt:lpstr>
      <vt:lpstr>Query Store Reports</vt:lpstr>
      <vt:lpstr>Query Store Reports</vt:lpstr>
      <vt:lpstr>Query Store Reports</vt:lpstr>
      <vt:lpstr>Query Store Reports</vt:lpstr>
      <vt:lpstr>Query Store Reports</vt:lpstr>
      <vt:lpstr>Query Store Reports</vt:lpstr>
      <vt:lpstr>Query Store Reports</vt:lpstr>
      <vt:lpstr>Establishing a Baseline </vt:lpstr>
      <vt:lpstr>Force Plan</vt:lpstr>
      <vt:lpstr>Plan Compare </vt:lpstr>
      <vt:lpstr>Query Store Catalog Views</vt:lpstr>
      <vt:lpstr>Using Query Store Catalog View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81</cp:revision>
  <dcterms:created xsi:type="dcterms:W3CDTF">2019-08-12T16:24:54Z</dcterms:created>
  <dcterms:modified xsi:type="dcterms:W3CDTF">2022-08-11T16: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